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5"/>
  </p:notesMasterIdLst>
  <p:sldIdLst>
    <p:sldId id="265" r:id="rId5"/>
    <p:sldId id="273" r:id="rId6"/>
    <p:sldId id="271" r:id="rId7"/>
    <p:sldId id="277" r:id="rId8"/>
    <p:sldId id="272" r:id="rId9"/>
    <p:sldId id="297" r:id="rId10"/>
    <p:sldId id="296" r:id="rId11"/>
    <p:sldId id="266" r:id="rId12"/>
    <p:sldId id="276" r:id="rId13"/>
    <p:sldId id="295" r:id="rId14"/>
  </p:sldIdLst>
  <p:sldSz cx="12192000" cy="6858000"/>
  <p:notesSz cx="6858000" cy="9144000"/>
  <p:custDataLst>
    <p:tags r:id="rId16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E00"/>
    <a:srgbClr val="FFFFFF"/>
    <a:srgbClr val="6C9D3C"/>
    <a:srgbClr val="FF6600"/>
    <a:srgbClr val="CC6633"/>
    <a:srgbClr val="CC9832"/>
    <a:srgbClr val="C819FF"/>
    <a:srgbClr val="FFC000"/>
    <a:srgbClr val="FF1A9A"/>
    <a:srgbClr val="00A2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827594-31BB-45CD-A7A5-40B02A1FA12B}" v="64" dt="2024-04-12T21:13:44.7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3719" autoAdjust="0"/>
  </p:normalViewPr>
  <p:slideViewPr>
    <p:cSldViewPr snapToObjects="1">
      <p:cViewPr varScale="1">
        <p:scale>
          <a:sx n="80" d="100"/>
          <a:sy n="80" d="100"/>
        </p:scale>
        <p:origin x="754" y="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nyee Wong" userId="02884072-0f3b-471d-9cfb-535e7636b16a" providerId="ADAL" clId="{CB827594-31BB-45CD-A7A5-40B02A1FA12B}"/>
    <pc:docChg chg="undo custSel addSld delSld modSld sldOrd">
      <pc:chgData name="Wanyee Wong" userId="02884072-0f3b-471d-9cfb-535e7636b16a" providerId="ADAL" clId="{CB827594-31BB-45CD-A7A5-40B02A1FA12B}" dt="2024-04-12T21:15:47.864" v="964" actId="14100"/>
      <pc:docMkLst>
        <pc:docMk/>
      </pc:docMkLst>
      <pc:sldChg chg="addSp delSp modSp del mod">
        <pc:chgData name="Wanyee Wong" userId="02884072-0f3b-471d-9cfb-535e7636b16a" providerId="ADAL" clId="{CB827594-31BB-45CD-A7A5-40B02A1FA12B}" dt="2024-04-12T08:55:51.069" v="79" actId="47"/>
        <pc:sldMkLst>
          <pc:docMk/>
          <pc:sldMk cId="164068597" sldId="257"/>
        </pc:sldMkLst>
        <pc:graphicFrameChg chg="add del mod">
          <ac:chgData name="Wanyee Wong" userId="02884072-0f3b-471d-9cfb-535e7636b16a" providerId="ADAL" clId="{CB827594-31BB-45CD-A7A5-40B02A1FA12B}" dt="2024-04-12T08:54:58.191" v="78"/>
          <ac:graphicFrameMkLst>
            <pc:docMk/>
            <pc:sldMk cId="164068597" sldId="257"/>
            <ac:graphicFrameMk id="3" creationId="{3EAB5D12-A01E-A7F7-5E8B-1821D58B03A3}"/>
          </ac:graphicFrameMkLst>
        </pc:graphicFrameChg>
      </pc:sldChg>
      <pc:sldChg chg="addSp delSp modSp mod modNotesTx">
        <pc:chgData name="Wanyee Wong" userId="02884072-0f3b-471d-9cfb-535e7636b16a" providerId="ADAL" clId="{CB827594-31BB-45CD-A7A5-40B02A1FA12B}" dt="2024-04-12T21:15:47.864" v="964" actId="14100"/>
        <pc:sldMkLst>
          <pc:docMk/>
          <pc:sldMk cId="4087404112" sldId="265"/>
        </pc:sldMkLst>
        <pc:spChg chg="add mod">
          <ac:chgData name="Wanyee Wong" userId="02884072-0f3b-471d-9cfb-535e7636b16a" providerId="ADAL" clId="{CB827594-31BB-45CD-A7A5-40B02A1FA12B}" dt="2024-04-12T21:15:04.694" v="961" actId="1076"/>
          <ac:spMkLst>
            <pc:docMk/>
            <pc:sldMk cId="4087404112" sldId="265"/>
            <ac:spMk id="2" creationId="{9A3813BF-4B1E-022C-726E-3ABC910C74AC}"/>
          </ac:spMkLst>
        </pc:spChg>
        <pc:spChg chg="mod">
          <ac:chgData name="Wanyee Wong" userId="02884072-0f3b-471d-9cfb-535e7636b16a" providerId="ADAL" clId="{CB827594-31BB-45CD-A7A5-40B02A1FA12B}" dt="2024-04-12T12:02:53.908" v="519" actId="6549"/>
          <ac:spMkLst>
            <pc:docMk/>
            <pc:sldMk cId="4087404112" sldId="265"/>
            <ac:spMk id="5" creationId="{34A7253B-8590-2A8E-BD73-ABBF0D6513CB}"/>
          </ac:spMkLst>
        </pc:spChg>
        <pc:spChg chg="add del mod">
          <ac:chgData name="Wanyee Wong" userId="02884072-0f3b-471d-9cfb-535e7636b16a" providerId="ADAL" clId="{CB827594-31BB-45CD-A7A5-40B02A1FA12B}" dt="2024-04-12T21:09:31.383" v="865" actId="21"/>
          <ac:spMkLst>
            <pc:docMk/>
            <pc:sldMk cId="4087404112" sldId="265"/>
            <ac:spMk id="6" creationId="{E6D70350-AC3B-7D55-4DA3-3DFAD8FC117A}"/>
          </ac:spMkLst>
        </pc:spChg>
        <pc:spChg chg="add mod">
          <ac:chgData name="Wanyee Wong" userId="02884072-0f3b-471d-9cfb-535e7636b16a" providerId="ADAL" clId="{CB827594-31BB-45CD-A7A5-40B02A1FA12B}" dt="2024-04-12T21:13:48.304" v="947" actId="1076"/>
          <ac:spMkLst>
            <pc:docMk/>
            <pc:sldMk cId="4087404112" sldId="265"/>
            <ac:spMk id="7" creationId="{5ECF8F28-67DC-1814-58AC-E263D6E602B5}"/>
          </ac:spMkLst>
        </pc:spChg>
        <pc:spChg chg="mod">
          <ac:chgData name="Wanyee Wong" userId="02884072-0f3b-471d-9cfb-535e7636b16a" providerId="ADAL" clId="{CB827594-31BB-45CD-A7A5-40B02A1FA12B}" dt="2024-04-12T12:03:05.707" v="521" actId="1076"/>
          <ac:spMkLst>
            <pc:docMk/>
            <pc:sldMk cId="4087404112" sldId="265"/>
            <ac:spMk id="10" creationId="{C3EB86D6-AF4E-F3FF-0E4E-4E77CFA104F0}"/>
          </ac:spMkLst>
        </pc:spChg>
        <pc:spChg chg="add del mod">
          <ac:chgData name="Wanyee Wong" userId="02884072-0f3b-471d-9cfb-535e7636b16a" providerId="ADAL" clId="{CB827594-31BB-45CD-A7A5-40B02A1FA12B}" dt="2024-04-12T15:29:53.630" v="643" actId="478"/>
          <ac:spMkLst>
            <pc:docMk/>
            <pc:sldMk cId="4087404112" sldId="265"/>
            <ac:spMk id="12" creationId="{88370174-C6F0-BAF2-853F-461651FE21DC}"/>
          </ac:spMkLst>
        </pc:spChg>
        <pc:spChg chg="mod">
          <ac:chgData name="Wanyee Wong" userId="02884072-0f3b-471d-9cfb-535e7636b16a" providerId="ADAL" clId="{CB827594-31BB-45CD-A7A5-40B02A1FA12B}" dt="2024-04-12T12:03:05.707" v="521" actId="1076"/>
          <ac:spMkLst>
            <pc:docMk/>
            <pc:sldMk cId="4087404112" sldId="265"/>
            <ac:spMk id="16" creationId="{C3949244-97E1-7FCA-29C6-6187A4565158}"/>
          </ac:spMkLst>
        </pc:spChg>
        <pc:spChg chg="mod">
          <ac:chgData name="Wanyee Wong" userId="02884072-0f3b-471d-9cfb-535e7636b16a" providerId="ADAL" clId="{CB827594-31BB-45CD-A7A5-40B02A1FA12B}" dt="2024-04-12T15:30:00.147" v="645" actId="113"/>
          <ac:spMkLst>
            <pc:docMk/>
            <pc:sldMk cId="4087404112" sldId="265"/>
            <ac:spMk id="18" creationId="{6212854C-EC4C-38F4-E530-33D8CC14B7CD}"/>
          </ac:spMkLst>
        </pc:spChg>
        <pc:spChg chg="mod">
          <ac:chgData name="Wanyee Wong" userId="02884072-0f3b-471d-9cfb-535e7636b16a" providerId="ADAL" clId="{CB827594-31BB-45CD-A7A5-40B02A1FA12B}" dt="2024-04-12T21:09:14.120" v="854"/>
          <ac:spMkLst>
            <pc:docMk/>
            <pc:sldMk cId="4087404112" sldId="265"/>
            <ac:spMk id="20" creationId="{6C0C1480-C91F-8149-28AD-548E0F083401}"/>
          </ac:spMkLst>
        </pc:spChg>
        <pc:picChg chg="add del mod">
          <ac:chgData name="Wanyee Wong" userId="02884072-0f3b-471d-9cfb-535e7636b16a" providerId="ADAL" clId="{CB827594-31BB-45CD-A7A5-40B02A1FA12B}" dt="2024-04-12T15:04:57.955" v="537" actId="478"/>
          <ac:picMkLst>
            <pc:docMk/>
            <pc:sldMk cId="4087404112" sldId="265"/>
            <ac:picMk id="2" creationId="{27869942-2937-9DC9-8CAE-3CB65B14AEDA}"/>
          </ac:picMkLst>
        </pc:picChg>
        <pc:picChg chg="add mod ord">
          <ac:chgData name="Wanyee Wong" userId="02884072-0f3b-471d-9cfb-535e7636b16a" providerId="ADAL" clId="{CB827594-31BB-45CD-A7A5-40B02A1FA12B}" dt="2024-04-12T21:13:47.774" v="946" actId="1076"/>
          <ac:picMkLst>
            <pc:docMk/>
            <pc:sldMk cId="4087404112" sldId="265"/>
            <ac:picMk id="3" creationId="{7D18E530-C82B-C83C-7282-C0743C01A490}"/>
          </ac:picMkLst>
        </pc:picChg>
        <pc:picChg chg="del">
          <ac:chgData name="Wanyee Wong" userId="02884072-0f3b-471d-9cfb-535e7636b16a" providerId="ADAL" clId="{CB827594-31BB-45CD-A7A5-40B02A1FA12B}" dt="2024-04-12T12:30:42.691" v="527" actId="478"/>
          <ac:picMkLst>
            <pc:docMk/>
            <pc:sldMk cId="4087404112" sldId="265"/>
            <ac:picMk id="6" creationId="{4893D5BB-3D7E-41DA-D929-84444D6C5CFC}"/>
          </ac:picMkLst>
        </pc:picChg>
        <pc:picChg chg="add del mod">
          <ac:chgData name="Wanyee Wong" userId="02884072-0f3b-471d-9cfb-535e7636b16a" providerId="ADAL" clId="{CB827594-31BB-45CD-A7A5-40B02A1FA12B}" dt="2024-04-12T15:05:53.840" v="541" actId="478"/>
          <ac:picMkLst>
            <pc:docMk/>
            <pc:sldMk cId="4087404112" sldId="265"/>
            <ac:picMk id="6" creationId="{E6180733-614B-3FF3-0259-D3A039EBCE0E}"/>
          </ac:picMkLst>
        </pc:picChg>
        <pc:picChg chg="mod">
          <ac:chgData name="Wanyee Wong" userId="02884072-0f3b-471d-9cfb-535e7636b16a" providerId="ADAL" clId="{CB827594-31BB-45CD-A7A5-40B02A1FA12B}" dt="2024-04-12T15:28:46.938" v="633" actId="14100"/>
          <ac:picMkLst>
            <pc:docMk/>
            <pc:sldMk cId="4087404112" sldId="265"/>
            <ac:picMk id="8" creationId="{6A4AED99-7870-398F-2FF3-EFD6A8BFC419}"/>
          </ac:picMkLst>
        </pc:picChg>
        <pc:picChg chg="add mod">
          <ac:chgData name="Wanyee Wong" userId="02884072-0f3b-471d-9cfb-535e7636b16a" providerId="ADAL" clId="{CB827594-31BB-45CD-A7A5-40B02A1FA12B}" dt="2024-04-12T21:15:47.864" v="964" actId="14100"/>
          <ac:picMkLst>
            <pc:docMk/>
            <pc:sldMk cId="4087404112" sldId="265"/>
            <ac:picMk id="9" creationId="{1CBAE781-196D-A28C-CD49-70CB3457F5B1}"/>
          </ac:picMkLst>
        </pc:picChg>
        <pc:picChg chg="del">
          <ac:chgData name="Wanyee Wong" userId="02884072-0f3b-471d-9cfb-535e7636b16a" providerId="ADAL" clId="{CB827594-31BB-45CD-A7A5-40B02A1FA12B}" dt="2024-04-11T16:00:28.037" v="16" actId="478"/>
          <ac:picMkLst>
            <pc:docMk/>
            <pc:sldMk cId="4087404112" sldId="265"/>
            <ac:picMk id="11" creationId="{467346C5-29B5-CFC3-AD57-C9F789A1C8F8}"/>
          </ac:picMkLst>
        </pc:picChg>
        <pc:picChg chg="add mod">
          <ac:chgData name="Wanyee Wong" userId="02884072-0f3b-471d-9cfb-535e7636b16a" providerId="ADAL" clId="{CB827594-31BB-45CD-A7A5-40B02A1FA12B}" dt="2024-04-12T21:14:30.889" v="956" actId="1076"/>
          <ac:picMkLst>
            <pc:docMk/>
            <pc:sldMk cId="4087404112" sldId="265"/>
            <ac:picMk id="11" creationId="{6EC94632-A58B-B244-49F4-B4B4F3A9764A}"/>
          </ac:picMkLst>
        </pc:picChg>
        <pc:picChg chg="add mod">
          <ac:chgData name="Wanyee Wong" userId="02884072-0f3b-471d-9cfb-535e7636b16a" providerId="ADAL" clId="{CB827594-31BB-45CD-A7A5-40B02A1FA12B}" dt="2024-04-12T21:14:44.743" v="958" actId="1076"/>
          <ac:picMkLst>
            <pc:docMk/>
            <pc:sldMk cId="4087404112" sldId="265"/>
            <ac:picMk id="13" creationId="{E0A9C221-3A20-A1D5-DE9B-D9502E372F06}"/>
          </ac:picMkLst>
        </pc:picChg>
        <pc:picChg chg="mod ord">
          <ac:chgData name="Wanyee Wong" userId="02884072-0f3b-471d-9cfb-535e7636b16a" providerId="ADAL" clId="{CB827594-31BB-45CD-A7A5-40B02A1FA12B}" dt="2024-04-12T21:15:01.680" v="960" actId="553"/>
          <ac:picMkLst>
            <pc:docMk/>
            <pc:sldMk cId="4087404112" sldId="265"/>
            <ac:picMk id="14" creationId="{2A722E6D-AC7A-303F-68A4-524CF8D9BA31}"/>
          </ac:picMkLst>
        </pc:picChg>
        <pc:picChg chg="add mod">
          <ac:chgData name="Wanyee Wong" userId="02884072-0f3b-471d-9cfb-535e7636b16a" providerId="ADAL" clId="{CB827594-31BB-45CD-A7A5-40B02A1FA12B}" dt="2024-04-12T21:13:44.707" v="940" actId="1076"/>
          <ac:picMkLst>
            <pc:docMk/>
            <pc:sldMk cId="4087404112" sldId="265"/>
            <ac:picMk id="1026" creationId="{295AE6BD-C202-5DD8-5D66-D1E9A94B51BA}"/>
          </ac:picMkLst>
        </pc:picChg>
      </pc:sldChg>
      <pc:sldChg chg="modSp mod">
        <pc:chgData name="Wanyee Wong" userId="02884072-0f3b-471d-9cfb-535e7636b16a" providerId="ADAL" clId="{CB827594-31BB-45CD-A7A5-40B02A1FA12B}" dt="2024-04-12T10:28:07.833" v="395" actId="20577"/>
        <pc:sldMkLst>
          <pc:docMk/>
          <pc:sldMk cId="3273409810" sldId="266"/>
        </pc:sldMkLst>
        <pc:spChg chg="mod">
          <ac:chgData name="Wanyee Wong" userId="02884072-0f3b-471d-9cfb-535e7636b16a" providerId="ADAL" clId="{CB827594-31BB-45CD-A7A5-40B02A1FA12B}" dt="2024-04-12T10:28:07.833" v="395" actId="20577"/>
          <ac:spMkLst>
            <pc:docMk/>
            <pc:sldMk cId="3273409810" sldId="266"/>
            <ac:spMk id="5" creationId="{34A7253B-8590-2A8E-BD73-ABBF0D6513CB}"/>
          </ac:spMkLst>
        </pc:spChg>
      </pc:sldChg>
      <pc:sldChg chg="addSp delSp modSp">
        <pc:chgData name="Wanyee Wong" userId="02884072-0f3b-471d-9cfb-535e7636b16a" providerId="ADAL" clId="{CB827594-31BB-45CD-A7A5-40B02A1FA12B}" dt="2024-04-12T09:11:53.377" v="93" actId="478"/>
        <pc:sldMkLst>
          <pc:docMk/>
          <pc:sldMk cId="3268782259" sldId="271"/>
        </pc:sldMkLst>
        <pc:picChg chg="add del mod">
          <ac:chgData name="Wanyee Wong" userId="02884072-0f3b-471d-9cfb-535e7636b16a" providerId="ADAL" clId="{CB827594-31BB-45CD-A7A5-40B02A1FA12B}" dt="2024-04-12T09:11:53.377" v="93" actId="478"/>
          <ac:picMkLst>
            <pc:docMk/>
            <pc:sldMk cId="3268782259" sldId="271"/>
            <ac:picMk id="3" creationId="{B17355C4-2B2C-5510-0A2D-1457B1F28DE5}"/>
          </ac:picMkLst>
        </pc:picChg>
      </pc:sldChg>
      <pc:sldChg chg="addSp delSp modSp mod modNotesTx">
        <pc:chgData name="Wanyee Wong" userId="02884072-0f3b-471d-9cfb-535e7636b16a" providerId="ADAL" clId="{CB827594-31BB-45CD-A7A5-40B02A1FA12B}" dt="2024-04-12T15:09:37.415" v="619" actId="1037"/>
        <pc:sldMkLst>
          <pc:docMk/>
          <pc:sldMk cId="99815715" sldId="272"/>
        </pc:sldMkLst>
        <pc:spChg chg="mod">
          <ac:chgData name="Wanyee Wong" userId="02884072-0f3b-471d-9cfb-535e7636b16a" providerId="ADAL" clId="{CB827594-31BB-45CD-A7A5-40B02A1FA12B}" dt="2024-04-12T15:09:37.415" v="619" actId="1037"/>
          <ac:spMkLst>
            <pc:docMk/>
            <pc:sldMk cId="99815715" sldId="272"/>
            <ac:spMk id="11" creationId="{D9D956BB-FCB1-7399-E2E6-595FDF5DDC33}"/>
          </ac:spMkLst>
        </pc:spChg>
        <pc:spChg chg="mod">
          <ac:chgData name="Wanyee Wong" userId="02884072-0f3b-471d-9cfb-535e7636b16a" providerId="ADAL" clId="{CB827594-31BB-45CD-A7A5-40B02A1FA12B}" dt="2024-04-12T15:09:37.415" v="619" actId="1037"/>
          <ac:spMkLst>
            <pc:docMk/>
            <pc:sldMk cId="99815715" sldId="272"/>
            <ac:spMk id="12" creationId="{6AB0284D-1E44-54C5-923C-B3DEC2C1D85F}"/>
          </ac:spMkLst>
        </pc:spChg>
        <pc:spChg chg="mod">
          <ac:chgData name="Wanyee Wong" userId="02884072-0f3b-471d-9cfb-535e7636b16a" providerId="ADAL" clId="{CB827594-31BB-45CD-A7A5-40B02A1FA12B}" dt="2024-04-12T15:09:37.415" v="619" actId="1037"/>
          <ac:spMkLst>
            <pc:docMk/>
            <pc:sldMk cId="99815715" sldId="272"/>
            <ac:spMk id="15" creationId="{61E22E6B-AE79-CADB-7491-FDA942845CBE}"/>
          </ac:spMkLst>
        </pc:spChg>
        <pc:spChg chg="del mod">
          <ac:chgData name="Wanyee Wong" userId="02884072-0f3b-471d-9cfb-535e7636b16a" providerId="ADAL" clId="{CB827594-31BB-45CD-A7A5-40B02A1FA12B}" dt="2024-04-11T15:29:15.486" v="2" actId="478"/>
          <ac:spMkLst>
            <pc:docMk/>
            <pc:sldMk cId="99815715" sldId="272"/>
            <ac:spMk id="18" creationId="{CED262C8-06B9-D4EF-E5B7-56B52331AA6E}"/>
          </ac:spMkLst>
        </pc:spChg>
        <pc:spChg chg="add del mod">
          <ac:chgData name="Wanyee Wong" userId="02884072-0f3b-471d-9cfb-535e7636b16a" providerId="ADAL" clId="{CB827594-31BB-45CD-A7A5-40B02A1FA12B}" dt="2024-04-12T15:09:37.415" v="619" actId="1037"/>
          <ac:spMkLst>
            <pc:docMk/>
            <pc:sldMk cId="99815715" sldId="272"/>
            <ac:spMk id="20" creationId="{FD0BFA0D-75CA-FBF6-BBF8-900CA5DBCD51}"/>
          </ac:spMkLst>
        </pc:spChg>
        <pc:spChg chg="add del mod">
          <ac:chgData name="Wanyee Wong" userId="02884072-0f3b-471d-9cfb-535e7636b16a" providerId="ADAL" clId="{CB827594-31BB-45CD-A7A5-40B02A1FA12B}" dt="2024-04-12T15:09:37.415" v="619" actId="1037"/>
          <ac:spMkLst>
            <pc:docMk/>
            <pc:sldMk cId="99815715" sldId="272"/>
            <ac:spMk id="22" creationId="{3FD969AD-E206-573C-D07E-3B727BC04D50}"/>
          </ac:spMkLst>
        </pc:spChg>
        <pc:spChg chg="del">
          <ac:chgData name="Wanyee Wong" userId="02884072-0f3b-471d-9cfb-535e7636b16a" providerId="ADAL" clId="{CB827594-31BB-45CD-A7A5-40B02A1FA12B}" dt="2024-04-11T15:29:18.542" v="5" actId="478"/>
          <ac:spMkLst>
            <pc:docMk/>
            <pc:sldMk cId="99815715" sldId="272"/>
            <ac:spMk id="26" creationId="{E0153B44-14FB-E818-914C-12A9C61EC487}"/>
          </ac:spMkLst>
        </pc:spChg>
        <pc:picChg chg="add mod">
          <ac:chgData name="Wanyee Wong" userId="02884072-0f3b-471d-9cfb-535e7636b16a" providerId="ADAL" clId="{CB827594-31BB-45CD-A7A5-40B02A1FA12B}" dt="2024-04-12T09:12:12.640" v="96"/>
          <ac:picMkLst>
            <pc:docMk/>
            <pc:sldMk cId="99815715" sldId="272"/>
            <ac:picMk id="3" creationId="{3FD4BF5B-6678-4F4B-3EBB-EAAE465197F0}"/>
          </ac:picMkLst>
        </pc:picChg>
        <pc:picChg chg="del">
          <ac:chgData name="Wanyee Wong" userId="02884072-0f3b-471d-9cfb-535e7636b16a" providerId="ADAL" clId="{CB827594-31BB-45CD-A7A5-40B02A1FA12B}" dt="2024-04-11T15:29:10.825" v="0" actId="478"/>
          <ac:picMkLst>
            <pc:docMk/>
            <pc:sldMk cId="99815715" sldId="272"/>
            <ac:picMk id="3" creationId="{CA9C4799-EFC9-004A-1B13-A0F7AF98C31A}"/>
          </ac:picMkLst>
        </pc:picChg>
        <pc:picChg chg="del mod">
          <ac:chgData name="Wanyee Wong" userId="02884072-0f3b-471d-9cfb-535e7636b16a" providerId="ADAL" clId="{CB827594-31BB-45CD-A7A5-40B02A1FA12B}" dt="2024-04-11T16:00:59.611" v="17" actId="478"/>
          <ac:picMkLst>
            <pc:docMk/>
            <pc:sldMk cId="99815715" sldId="272"/>
            <ac:picMk id="4" creationId="{2E0846BC-4712-1EA2-9769-D6695F703D9B}"/>
          </ac:picMkLst>
        </pc:picChg>
        <pc:picChg chg="add del mod ord">
          <ac:chgData name="Wanyee Wong" userId="02884072-0f3b-471d-9cfb-535e7636b16a" providerId="ADAL" clId="{CB827594-31BB-45CD-A7A5-40B02A1FA12B}" dt="2024-04-12T15:07:10.402" v="582" actId="478"/>
          <ac:picMkLst>
            <pc:docMk/>
            <pc:sldMk cId="99815715" sldId="272"/>
            <ac:picMk id="5" creationId="{37072835-1D7E-103E-9A14-94451ACEF994}"/>
          </ac:picMkLst>
        </pc:picChg>
        <pc:picChg chg="add del mod ord">
          <ac:chgData name="Wanyee Wong" userId="02884072-0f3b-471d-9cfb-535e7636b16a" providerId="ADAL" clId="{CB827594-31BB-45CD-A7A5-40B02A1FA12B}" dt="2024-04-12T15:06:51.418" v="577" actId="478"/>
          <ac:picMkLst>
            <pc:docMk/>
            <pc:sldMk cId="99815715" sldId="272"/>
            <ac:picMk id="6" creationId="{27CA8DE4-FD34-B663-918C-2C75355A7865}"/>
          </ac:picMkLst>
        </pc:picChg>
        <pc:picChg chg="add mod ord">
          <ac:chgData name="Wanyee Wong" userId="02884072-0f3b-471d-9cfb-535e7636b16a" providerId="ADAL" clId="{CB827594-31BB-45CD-A7A5-40B02A1FA12B}" dt="2024-04-12T15:09:37.415" v="619" actId="1037"/>
          <ac:picMkLst>
            <pc:docMk/>
            <pc:sldMk cId="99815715" sldId="272"/>
            <ac:picMk id="8" creationId="{5C4C32E4-5486-850F-41D9-19D7DBF88D21}"/>
          </ac:picMkLst>
        </pc:picChg>
        <pc:picChg chg="add del mod">
          <ac:chgData name="Wanyee Wong" userId="02884072-0f3b-471d-9cfb-535e7636b16a" providerId="ADAL" clId="{CB827594-31BB-45CD-A7A5-40B02A1FA12B}" dt="2024-04-11T16:01:04.835" v="19" actId="478"/>
          <ac:picMkLst>
            <pc:docMk/>
            <pc:sldMk cId="99815715" sldId="272"/>
            <ac:picMk id="8" creationId="{EBE74CD6-51C8-6238-273E-7991D8B50387}"/>
          </ac:picMkLst>
        </pc:picChg>
        <pc:picChg chg="add mod ord">
          <ac:chgData name="Wanyee Wong" userId="02884072-0f3b-471d-9cfb-535e7636b16a" providerId="ADAL" clId="{CB827594-31BB-45CD-A7A5-40B02A1FA12B}" dt="2024-04-12T15:09:10.335" v="616" actId="552"/>
          <ac:picMkLst>
            <pc:docMk/>
            <pc:sldMk cId="99815715" sldId="272"/>
            <ac:picMk id="14" creationId="{AF43D577-E135-1AF1-7606-AD4060D3AB5D}"/>
          </ac:picMkLst>
        </pc:picChg>
        <pc:cxnChg chg="mod">
          <ac:chgData name="Wanyee Wong" userId="02884072-0f3b-471d-9cfb-535e7636b16a" providerId="ADAL" clId="{CB827594-31BB-45CD-A7A5-40B02A1FA12B}" dt="2024-04-12T15:09:37.415" v="619" actId="1037"/>
          <ac:cxnSpMkLst>
            <pc:docMk/>
            <pc:sldMk cId="99815715" sldId="272"/>
            <ac:cxnSpMk id="10" creationId="{DBB55893-F462-0318-3787-C9AF55457DF3}"/>
          </ac:cxnSpMkLst>
        </pc:cxnChg>
        <pc:cxnChg chg="mod">
          <ac:chgData name="Wanyee Wong" userId="02884072-0f3b-471d-9cfb-535e7636b16a" providerId="ADAL" clId="{CB827594-31BB-45CD-A7A5-40B02A1FA12B}" dt="2024-04-12T15:09:37.415" v="619" actId="1037"/>
          <ac:cxnSpMkLst>
            <pc:docMk/>
            <pc:sldMk cId="99815715" sldId="272"/>
            <ac:cxnSpMk id="13" creationId="{710E1908-C6ED-DE94-170E-65E79074E1D5}"/>
          </ac:cxnSpMkLst>
        </pc:cxnChg>
        <pc:cxnChg chg="add del mod">
          <ac:chgData name="Wanyee Wong" userId="02884072-0f3b-471d-9cfb-535e7636b16a" providerId="ADAL" clId="{CB827594-31BB-45CD-A7A5-40B02A1FA12B}" dt="2024-04-12T15:09:37.415" v="619" actId="1037"/>
          <ac:cxnSpMkLst>
            <pc:docMk/>
            <pc:sldMk cId="99815715" sldId="272"/>
            <ac:cxnSpMk id="16" creationId="{0A572A16-C628-7BB1-D394-DACDD77A0405}"/>
          </ac:cxnSpMkLst>
        </pc:cxnChg>
        <pc:cxnChg chg="del">
          <ac:chgData name="Wanyee Wong" userId="02884072-0f3b-471d-9cfb-535e7636b16a" providerId="ADAL" clId="{CB827594-31BB-45CD-A7A5-40B02A1FA12B}" dt="2024-04-11T15:29:16.227" v="3" actId="478"/>
          <ac:cxnSpMkLst>
            <pc:docMk/>
            <pc:sldMk cId="99815715" sldId="272"/>
            <ac:cxnSpMk id="19" creationId="{1471B6FB-F6C7-38E9-2C28-7D3F4034DE48}"/>
          </ac:cxnSpMkLst>
        </pc:cxnChg>
        <pc:cxnChg chg="add del mod">
          <ac:chgData name="Wanyee Wong" userId="02884072-0f3b-471d-9cfb-535e7636b16a" providerId="ADAL" clId="{CB827594-31BB-45CD-A7A5-40B02A1FA12B}" dt="2024-04-12T15:09:37.415" v="619" actId="1037"/>
          <ac:cxnSpMkLst>
            <pc:docMk/>
            <pc:sldMk cId="99815715" sldId="272"/>
            <ac:cxnSpMk id="21" creationId="{4F33BC98-1640-B0CA-EA91-C199FB903681}"/>
          </ac:cxnSpMkLst>
        </pc:cxnChg>
        <pc:cxnChg chg="add del mod">
          <ac:chgData name="Wanyee Wong" userId="02884072-0f3b-471d-9cfb-535e7636b16a" providerId="ADAL" clId="{CB827594-31BB-45CD-A7A5-40B02A1FA12B}" dt="2024-04-12T15:09:37.415" v="619" actId="1037"/>
          <ac:cxnSpMkLst>
            <pc:docMk/>
            <pc:sldMk cId="99815715" sldId="272"/>
            <ac:cxnSpMk id="23" creationId="{2C863EEC-96D1-C926-F020-B0D23D942724}"/>
          </ac:cxnSpMkLst>
        </pc:cxnChg>
        <pc:cxnChg chg="del">
          <ac:chgData name="Wanyee Wong" userId="02884072-0f3b-471d-9cfb-535e7636b16a" providerId="ADAL" clId="{CB827594-31BB-45CD-A7A5-40B02A1FA12B}" dt="2024-04-11T15:29:17.041" v="4" actId="478"/>
          <ac:cxnSpMkLst>
            <pc:docMk/>
            <pc:sldMk cId="99815715" sldId="272"/>
            <ac:cxnSpMk id="27" creationId="{6F3E483D-E9C4-2EA6-ED19-0AE48D16F8EC}"/>
          </ac:cxnSpMkLst>
        </pc:cxnChg>
      </pc:sldChg>
      <pc:sldChg chg="addSp delSp modSp mod modNotesTx">
        <pc:chgData name="Wanyee Wong" userId="02884072-0f3b-471d-9cfb-535e7636b16a" providerId="ADAL" clId="{CB827594-31BB-45CD-A7A5-40B02A1FA12B}" dt="2024-04-12T21:10:52.793" v="905" actId="21"/>
        <pc:sldMkLst>
          <pc:docMk/>
          <pc:sldMk cId="3770181716" sldId="273"/>
        </pc:sldMkLst>
        <pc:spChg chg="add del mod">
          <ac:chgData name="Wanyee Wong" userId="02884072-0f3b-471d-9cfb-535e7636b16a" providerId="ADAL" clId="{CB827594-31BB-45CD-A7A5-40B02A1FA12B}" dt="2024-04-12T21:10:52.793" v="905" actId="21"/>
          <ac:spMkLst>
            <pc:docMk/>
            <pc:sldMk cId="3770181716" sldId="273"/>
            <ac:spMk id="3" creationId="{7AC9991C-F6FD-9623-653E-63AC7DFD674F}"/>
          </ac:spMkLst>
        </pc:spChg>
        <pc:spChg chg="mod">
          <ac:chgData name="Wanyee Wong" userId="02884072-0f3b-471d-9cfb-535e7636b16a" providerId="ADAL" clId="{CB827594-31BB-45CD-A7A5-40B02A1FA12B}" dt="2024-04-12T09:37:40.881" v="272" actId="1038"/>
          <ac:spMkLst>
            <pc:docMk/>
            <pc:sldMk cId="3770181716" sldId="273"/>
            <ac:spMk id="4" creationId="{59ADDD75-30E9-0A48-9E55-CB7D3BF320C3}"/>
          </ac:spMkLst>
        </pc:spChg>
        <pc:spChg chg="mod">
          <ac:chgData name="Wanyee Wong" userId="02884072-0f3b-471d-9cfb-535e7636b16a" providerId="ADAL" clId="{CB827594-31BB-45CD-A7A5-40B02A1FA12B}" dt="2024-04-12T11:02:25.343" v="449" actId="20577"/>
          <ac:spMkLst>
            <pc:docMk/>
            <pc:sldMk cId="3770181716" sldId="273"/>
            <ac:spMk id="5" creationId="{34A7253B-8590-2A8E-BD73-ABBF0D6513CB}"/>
          </ac:spMkLst>
        </pc:spChg>
        <pc:picChg chg="add del mod">
          <ac:chgData name="Wanyee Wong" userId="02884072-0f3b-471d-9cfb-535e7636b16a" providerId="ADAL" clId="{CB827594-31BB-45CD-A7A5-40B02A1FA12B}" dt="2024-04-12T09:11:55.225" v="94" actId="478"/>
          <ac:picMkLst>
            <pc:docMk/>
            <pc:sldMk cId="3770181716" sldId="273"/>
            <ac:picMk id="3" creationId="{128344C2-E6CF-AF5D-D7F1-CEB1B109724A}"/>
          </ac:picMkLst>
        </pc:picChg>
        <pc:picChg chg="del mod modCrop">
          <ac:chgData name="Wanyee Wong" userId="02884072-0f3b-471d-9cfb-535e7636b16a" providerId="ADAL" clId="{CB827594-31BB-45CD-A7A5-40B02A1FA12B}" dt="2024-04-12T09:35:53.189" v="171" actId="478"/>
          <ac:picMkLst>
            <pc:docMk/>
            <pc:sldMk cId="3770181716" sldId="273"/>
            <ac:picMk id="7" creationId="{275B5227-488A-D5BD-F71C-30FC8B48A36C}"/>
          </ac:picMkLst>
        </pc:picChg>
        <pc:picChg chg="add del mod modCrop">
          <ac:chgData name="Wanyee Wong" userId="02884072-0f3b-471d-9cfb-535e7636b16a" providerId="ADAL" clId="{CB827594-31BB-45CD-A7A5-40B02A1FA12B}" dt="2024-04-12T09:37:13.419" v="203" actId="478"/>
          <ac:picMkLst>
            <pc:docMk/>
            <pc:sldMk cId="3770181716" sldId="273"/>
            <ac:picMk id="8" creationId="{B87FCCBB-685F-AA4E-B381-D47B47E0597F}"/>
          </ac:picMkLst>
        </pc:picChg>
        <pc:picChg chg="add mod">
          <ac:chgData name="Wanyee Wong" userId="02884072-0f3b-471d-9cfb-535e7636b16a" providerId="ADAL" clId="{CB827594-31BB-45CD-A7A5-40B02A1FA12B}" dt="2024-04-12T09:37:40.881" v="272" actId="1038"/>
          <ac:picMkLst>
            <pc:docMk/>
            <pc:sldMk cId="3770181716" sldId="273"/>
            <ac:picMk id="10" creationId="{61B54023-8C17-9481-27E6-8AF4E7C31701}"/>
          </ac:picMkLst>
        </pc:picChg>
      </pc:sldChg>
      <pc:sldChg chg="addSp delSp modSp mod">
        <pc:chgData name="Wanyee Wong" userId="02884072-0f3b-471d-9cfb-535e7636b16a" providerId="ADAL" clId="{CB827594-31BB-45CD-A7A5-40B02A1FA12B}" dt="2024-04-12T21:04:38.722" v="806" actId="20577"/>
        <pc:sldMkLst>
          <pc:docMk/>
          <pc:sldMk cId="325510225" sldId="276"/>
        </pc:sldMkLst>
        <pc:spChg chg="mod ord">
          <ac:chgData name="Wanyee Wong" userId="02884072-0f3b-471d-9cfb-535e7636b16a" providerId="ADAL" clId="{CB827594-31BB-45CD-A7A5-40B02A1FA12B}" dt="2024-04-12T21:04:38.722" v="806" actId="20577"/>
          <ac:spMkLst>
            <pc:docMk/>
            <pc:sldMk cId="325510225" sldId="276"/>
            <ac:spMk id="5" creationId="{34A7253B-8590-2A8E-BD73-ABBF0D6513CB}"/>
          </ac:spMkLst>
        </pc:spChg>
        <pc:spChg chg="add mod">
          <ac:chgData name="Wanyee Wong" userId="02884072-0f3b-471d-9cfb-535e7636b16a" providerId="ADAL" clId="{CB827594-31BB-45CD-A7A5-40B02A1FA12B}" dt="2024-04-12T21:02:42.375" v="735" actId="12788"/>
          <ac:spMkLst>
            <pc:docMk/>
            <pc:sldMk cId="325510225" sldId="276"/>
            <ac:spMk id="10" creationId="{97565EC4-B0C0-2263-82CE-C55C9334DD46}"/>
          </ac:spMkLst>
        </pc:spChg>
        <pc:picChg chg="add mod">
          <ac:chgData name="Wanyee Wong" userId="02884072-0f3b-471d-9cfb-535e7636b16a" providerId="ADAL" clId="{CB827594-31BB-45CD-A7A5-40B02A1FA12B}" dt="2024-04-12T21:03:16.032" v="746" actId="555"/>
          <ac:picMkLst>
            <pc:docMk/>
            <pc:sldMk cId="325510225" sldId="276"/>
            <ac:picMk id="3" creationId="{1622974C-93B8-0469-147E-41958C3097F2}"/>
          </ac:picMkLst>
        </pc:picChg>
        <pc:picChg chg="add mod">
          <ac:chgData name="Wanyee Wong" userId="02884072-0f3b-471d-9cfb-535e7636b16a" providerId="ADAL" clId="{CB827594-31BB-45CD-A7A5-40B02A1FA12B}" dt="2024-04-12T21:04:03.330" v="769" actId="1036"/>
          <ac:picMkLst>
            <pc:docMk/>
            <pc:sldMk cId="325510225" sldId="276"/>
            <ac:picMk id="6" creationId="{3FC694B0-E664-BAE1-313A-DFF24F0787ED}"/>
          </ac:picMkLst>
        </pc:picChg>
        <pc:picChg chg="mod">
          <ac:chgData name="Wanyee Wong" userId="02884072-0f3b-471d-9cfb-535e7636b16a" providerId="ADAL" clId="{CB827594-31BB-45CD-A7A5-40B02A1FA12B}" dt="2024-04-12T21:03:59.868" v="768" actId="553"/>
          <ac:picMkLst>
            <pc:docMk/>
            <pc:sldMk cId="325510225" sldId="276"/>
            <ac:picMk id="7" creationId="{26F78741-65D2-3C9C-585B-D777CF894965}"/>
          </ac:picMkLst>
        </pc:picChg>
        <pc:picChg chg="del">
          <ac:chgData name="Wanyee Wong" userId="02884072-0f3b-471d-9cfb-535e7636b16a" providerId="ADAL" clId="{CB827594-31BB-45CD-A7A5-40B02A1FA12B}" dt="2024-04-12T20:59:25.958" v="651" actId="478"/>
          <ac:picMkLst>
            <pc:docMk/>
            <pc:sldMk cId="325510225" sldId="276"/>
            <ac:picMk id="8" creationId="{F143B39F-673E-1A8E-13E9-60E15B0B75A5}"/>
          </ac:picMkLst>
        </pc:picChg>
      </pc:sldChg>
      <pc:sldChg chg="addSp modSp modNotesTx">
        <pc:chgData name="Wanyee Wong" userId="02884072-0f3b-471d-9cfb-535e7636b16a" providerId="ADAL" clId="{CB827594-31BB-45CD-A7A5-40B02A1FA12B}" dt="2024-04-12T14:14:46.859" v="535" actId="20577"/>
        <pc:sldMkLst>
          <pc:docMk/>
          <pc:sldMk cId="2897693146" sldId="277"/>
        </pc:sldMkLst>
        <pc:picChg chg="add mod">
          <ac:chgData name="Wanyee Wong" userId="02884072-0f3b-471d-9cfb-535e7636b16a" providerId="ADAL" clId="{CB827594-31BB-45CD-A7A5-40B02A1FA12B}" dt="2024-04-12T09:12:08.146" v="95"/>
          <ac:picMkLst>
            <pc:docMk/>
            <pc:sldMk cId="2897693146" sldId="277"/>
            <ac:picMk id="4" creationId="{C0527FEB-17FE-2611-EBF5-FB087300D614}"/>
          </ac:picMkLst>
        </pc:picChg>
      </pc:sldChg>
      <pc:sldChg chg="del">
        <pc:chgData name="Wanyee Wong" userId="02884072-0f3b-471d-9cfb-535e7636b16a" providerId="ADAL" clId="{CB827594-31BB-45CD-A7A5-40B02A1FA12B}" dt="2024-04-11T16:01:31.490" v="25" actId="47"/>
        <pc:sldMkLst>
          <pc:docMk/>
          <pc:sldMk cId="3109256224" sldId="285"/>
        </pc:sldMkLst>
      </pc:sldChg>
      <pc:sldChg chg="del">
        <pc:chgData name="Wanyee Wong" userId="02884072-0f3b-471d-9cfb-535e7636b16a" providerId="ADAL" clId="{CB827594-31BB-45CD-A7A5-40B02A1FA12B}" dt="2024-04-11T16:01:51.540" v="30" actId="47"/>
        <pc:sldMkLst>
          <pc:docMk/>
          <pc:sldMk cId="3313573625" sldId="286"/>
        </pc:sldMkLst>
      </pc:sldChg>
      <pc:sldChg chg="del">
        <pc:chgData name="Wanyee Wong" userId="02884072-0f3b-471d-9cfb-535e7636b16a" providerId="ADAL" clId="{CB827594-31BB-45CD-A7A5-40B02A1FA12B}" dt="2024-04-11T16:04:10.772" v="38" actId="47"/>
        <pc:sldMkLst>
          <pc:docMk/>
          <pc:sldMk cId="1278656083" sldId="287"/>
        </pc:sldMkLst>
      </pc:sldChg>
      <pc:sldChg chg="del">
        <pc:chgData name="Wanyee Wong" userId="02884072-0f3b-471d-9cfb-535e7636b16a" providerId="ADAL" clId="{CB827594-31BB-45CD-A7A5-40B02A1FA12B}" dt="2024-04-11T16:04:14.466" v="39" actId="47"/>
        <pc:sldMkLst>
          <pc:docMk/>
          <pc:sldMk cId="2523863965" sldId="288"/>
        </pc:sldMkLst>
      </pc:sldChg>
      <pc:sldChg chg="del">
        <pc:chgData name="Wanyee Wong" userId="02884072-0f3b-471d-9cfb-535e7636b16a" providerId="ADAL" clId="{CB827594-31BB-45CD-A7A5-40B02A1FA12B}" dt="2024-04-11T16:04:39.843" v="48" actId="47"/>
        <pc:sldMkLst>
          <pc:docMk/>
          <pc:sldMk cId="1579196219" sldId="289"/>
        </pc:sldMkLst>
      </pc:sldChg>
      <pc:sldChg chg="del">
        <pc:chgData name="Wanyee Wong" userId="02884072-0f3b-471d-9cfb-535e7636b16a" providerId="ADAL" clId="{CB827594-31BB-45CD-A7A5-40B02A1FA12B}" dt="2024-04-11T16:04:42.925" v="49" actId="47"/>
        <pc:sldMkLst>
          <pc:docMk/>
          <pc:sldMk cId="2670926" sldId="290"/>
        </pc:sldMkLst>
      </pc:sldChg>
      <pc:sldChg chg="del">
        <pc:chgData name="Wanyee Wong" userId="02884072-0f3b-471d-9cfb-535e7636b16a" providerId="ADAL" clId="{CB827594-31BB-45CD-A7A5-40B02A1FA12B}" dt="2024-04-11T16:04:53.523" v="52" actId="47"/>
        <pc:sldMkLst>
          <pc:docMk/>
          <pc:sldMk cId="1567671899" sldId="291"/>
        </pc:sldMkLst>
      </pc:sldChg>
      <pc:sldChg chg="del">
        <pc:chgData name="Wanyee Wong" userId="02884072-0f3b-471d-9cfb-535e7636b16a" providerId="ADAL" clId="{CB827594-31BB-45CD-A7A5-40B02A1FA12B}" dt="2024-04-11T16:05:05.927" v="56" actId="47"/>
        <pc:sldMkLst>
          <pc:docMk/>
          <pc:sldMk cId="3722285261" sldId="292"/>
        </pc:sldMkLst>
      </pc:sldChg>
      <pc:sldChg chg="del">
        <pc:chgData name="Wanyee Wong" userId="02884072-0f3b-471d-9cfb-535e7636b16a" providerId="ADAL" clId="{CB827594-31BB-45CD-A7A5-40B02A1FA12B}" dt="2024-04-11T16:05:32.722" v="72" actId="47"/>
        <pc:sldMkLst>
          <pc:docMk/>
          <pc:sldMk cId="1951207568" sldId="293"/>
        </pc:sldMkLst>
      </pc:sldChg>
      <pc:sldChg chg="del">
        <pc:chgData name="Wanyee Wong" userId="02884072-0f3b-471d-9cfb-535e7636b16a" providerId="ADAL" clId="{CB827594-31BB-45CD-A7A5-40B02A1FA12B}" dt="2024-04-11T16:05:18.982" v="62" actId="47"/>
        <pc:sldMkLst>
          <pc:docMk/>
          <pc:sldMk cId="2488058439" sldId="294"/>
        </pc:sldMkLst>
      </pc:sldChg>
      <pc:sldChg chg="modSp mod">
        <pc:chgData name="Wanyee Wong" userId="02884072-0f3b-471d-9cfb-535e7636b16a" providerId="ADAL" clId="{CB827594-31BB-45CD-A7A5-40B02A1FA12B}" dt="2024-04-12T10:49:34.959" v="401" actId="12"/>
        <pc:sldMkLst>
          <pc:docMk/>
          <pc:sldMk cId="3572390966" sldId="295"/>
        </pc:sldMkLst>
        <pc:spChg chg="mod">
          <ac:chgData name="Wanyee Wong" userId="02884072-0f3b-471d-9cfb-535e7636b16a" providerId="ADAL" clId="{CB827594-31BB-45CD-A7A5-40B02A1FA12B}" dt="2024-04-12T10:49:34.959" v="401" actId="12"/>
          <ac:spMkLst>
            <pc:docMk/>
            <pc:sldMk cId="3572390966" sldId="295"/>
            <ac:spMk id="9" creationId="{9F103B4D-9A71-BDE4-B93F-339B38798D8B}"/>
          </ac:spMkLst>
        </pc:spChg>
      </pc:sldChg>
      <pc:sldChg chg="addSp delSp modSp mod modNotesTx">
        <pc:chgData name="Wanyee Wong" userId="02884072-0f3b-471d-9cfb-535e7636b16a" providerId="ADAL" clId="{CB827594-31BB-45CD-A7A5-40B02A1FA12B}" dt="2024-04-12T15:27:18.237" v="628" actId="20577"/>
        <pc:sldMkLst>
          <pc:docMk/>
          <pc:sldMk cId="3097034186" sldId="296"/>
        </pc:sldMkLst>
        <pc:spChg chg="del">
          <ac:chgData name="Wanyee Wong" userId="02884072-0f3b-471d-9cfb-535e7636b16a" providerId="ADAL" clId="{CB827594-31BB-45CD-A7A5-40B02A1FA12B}" dt="2024-04-11T16:05:15.714" v="61" actId="478"/>
          <ac:spMkLst>
            <pc:docMk/>
            <pc:sldMk cId="3097034186" sldId="296"/>
            <ac:spMk id="9" creationId="{9F103B4D-9A71-BDE4-B93F-339B38798D8B}"/>
          </ac:spMkLst>
        </pc:spChg>
        <pc:spChg chg="add mod">
          <ac:chgData name="Wanyee Wong" userId="02884072-0f3b-471d-9cfb-535e7636b16a" providerId="ADAL" clId="{CB827594-31BB-45CD-A7A5-40B02A1FA12B}" dt="2024-04-12T10:04:29.666" v="347" actId="20577"/>
          <ac:spMkLst>
            <pc:docMk/>
            <pc:sldMk cId="3097034186" sldId="296"/>
            <ac:spMk id="20" creationId="{28EBEEE2-989A-A8B4-BC93-218979B3B7D4}"/>
          </ac:spMkLst>
        </pc:spChg>
        <pc:spChg chg="add mod">
          <ac:chgData name="Wanyee Wong" userId="02884072-0f3b-471d-9cfb-535e7636b16a" providerId="ADAL" clId="{CB827594-31BB-45CD-A7A5-40B02A1FA12B}" dt="2024-04-12T10:04:34.147" v="350" actId="20577"/>
          <ac:spMkLst>
            <pc:docMk/>
            <pc:sldMk cId="3097034186" sldId="296"/>
            <ac:spMk id="21" creationId="{7AC728DD-6EC7-286D-4195-60895D09B6ED}"/>
          </ac:spMkLst>
        </pc:spChg>
        <pc:spChg chg="add mod">
          <ac:chgData name="Wanyee Wong" userId="02884072-0f3b-471d-9cfb-535e7636b16a" providerId="ADAL" clId="{CB827594-31BB-45CD-A7A5-40B02A1FA12B}" dt="2024-04-12T10:04:30.930" v="348" actId="20577"/>
          <ac:spMkLst>
            <pc:docMk/>
            <pc:sldMk cId="3097034186" sldId="296"/>
            <ac:spMk id="22" creationId="{86376622-3282-16DE-4BEE-0F42C6CB5095}"/>
          </ac:spMkLst>
        </pc:spChg>
        <pc:spChg chg="add mod">
          <ac:chgData name="Wanyee Wong" userId="02884072-0f3b-471d-9cfb-535e7636b16a" providerId="ADAL" clId="{CB827594-31BB-45CD-A7A5-40B02A1FA12B}" dt="2024-04-12T10:04:32.484" v="349" actId="20577"/>
          <ac:spMkLst>
            <pc:docMk/>
            <pc:sldMk cId="3097034186" sldId="296"/>
            <ac:spMk id="23" creationId="{50A41BBF-486D-A17A-1672-A01627C42E29}"/>
          </ac:spMkLst>
        </pc:spChg>
        <pc:spChg chg="add mod">
          <ac:chgData name="Wanyee Wong" userId="02884072-0f3b-471d-9cfb-535e7636b16a" providerId="ADAL" clId="{CB827594-31BB-45CD-A7A5-40B02A1FA12B}" dt="2024-04-12T10:04:35.481" v="351" actId="20577"/>
          <ac:spMkLst>
            <pc:docMk/>
            <pc:sldMk cId="3097034186" sldId="296"/>
            <ac:spMk id="24" creationId="{3C4D0DED-2481-5536-B9A5-324ACF5240C9}"/>
          </ac:spMkLst>
        </pc:spChg>
        <pc:picChg chg="add mod">
          <ac:chgData name="Wanyee Wong" userId="02884072-0f3b-471d-9cfb-535e7636b16a" providerId="ADAL" clId="{CB827594-31BB-45CD-A7A5-40B02A1FA12B}" dt="2024-04-12T15:27:10.201" v="627"/>
          <ac:picMkLst>
            <pc:docMk/>
            <pc:sldMk cId="3097034186" sldId="296"/>
            <ac:picMk id="2" creationId="{50218C87-D071-0CAF-8F56-BEE2C1E2E614}"/>
          </ac:picMkLst>
        </pc:picChg>
        <pc:picChg chg="add del mod">
          <ac:chgData name="Wanyee Wong" userId="02884072-0f3b-471d-9cfb-535e7636b16a" providerId="ADAL" clId="{CB827594-31BB-45CD-A7A5-40B02A1FA12B}" dt="2024-04-12T09:52:44.589" v="293" actId="478"/>
          <ac:picMkLst>
            <pc:docMk/>
            <pc:sldMk cId="3097034186" sldId="296"/>
            <ac:picMk id="2" creationId="{FDCA5562-54A5-584D-472E-EB4E4DD47973}"/>
          </ac:picMkLst>
        </pc:picChg>
        <pc:picChg chg="del mod">
          <ac:chgData name="Wanyee Wong" userId="02884072-0f3b-471d-9cfb-535e7636b16a" providerId="ADAL" clId="{CB827594-31BB-45CD-A7A5-40B02A1FA12B}" dt="2024-04-12T09:52:44.589" v="293" actId="478"/>
          <ac:picMkLst>
            <pc:docMk/>
            <pc:sldMk cId="3097034186" sldId="296"/>
            <ac:picMk id="4" creationId="{2A77C195-1835-6574-4F08-1369451DF8A7}"/>
          </ac:picMkLst>
        </pc:picChg>
        <pc:picChg chg="add del mod">
          <ac:chgData name="Wanyee Wong" userId="02884072-0f3b-471d-9cfb-535e7636b16a" providerId="ADAL" clId="{CB827594-31BB-45CD-A7A5-40B02A1FA12B}" dt="2024-04-12T09:52:44.589" v="293" actId="478"/>
          <ac:picMkLst>
            <pc:docMk/>
            <pc:sldMk cId="3097034186" sldId="296"/>
            <ac:picMk id="5" creationId="{43542117-1129-A352-E608-CE03E492E580}"/>
          </ac:picMkLst>
        </pc:picChg>
        <pc:picChg chg="add del mod">
          <ac:chgData name="Wanyee Wong" userId="02884072-0f3b-471d-9cfb-535e7636b16a" providerId="ADAL" clId="{CB827594-31BB-45CD-A7A5-40B02A1FA12B}" dt="2024-04-12T09:52:44.589" v="293" actId="478"/>
          <ac:picMkLst>
            <pc:docMk/>
            <pc:sldMk cId="3097034186" sldId="296"/>
            <ac:picMk id="6" creationId="{183ED88C-BCFA-8DD5-47EB-496B95EA1B7F}"/>
          </ac:picMkLst>
        </pc:picChg>
        <pc:picChg chg="mod">
          <ac:chgData name="Wanyee Wong" userId="02884072-0f3b-471d-9cfb-535e7636b16a" providerId="ADAL" clId="{CB827594-31BB-45CD-A7A5-40B02A1FA12B}" dt="2024-04-12T09:54:29.124" v="319" actId="1076"/>
          <ac:picMkLst>
            <pc:docMk/>
            <pc:sldMk cId="3097034186" sldId="296"/>
            <ac:picMk id="7" creationId="{ADC38C3D-76AD-A417-9374-44649CC0DD0D}"/>
          </ac:picMkLst>
        </pc:picChg>
        <pc:picChg chg="add del mod">
          <ac:chgData name="Wanyee Wong" userId="02884072-0f3b-471d-9cfb-535e7636b16a" providerId="ADAL" clId="{CB827594-31BB-45CD-A7A5-40B02A1FA12B}" dt="2024-04-12T09:52:44.589" v="293" actId="478"/>
          <ac:picMkLst>
            <pc:docMk/>
            <pc:sldMk cId="3097034186" sldId="296"/>
            <ac:picMk id="8" creationId="{1DB4811B-8A4D-78F6-8200-A723F68361E9}"/>
          </ac:picMkLst>
        </pc:picChg>
        <pc:picChg chg="add mod">
          <ac:chgData name="Wanyee Wong" userId="02884072-0f3b-471d-9cfb-535e7636b16a" providerId="ADAL" clId="{CB827594-31BB-45CD-A7A5-40B02A1FA12B}" dt="2024-04-12T09:12:14.492" v="97"/>
          <ac:picMkLst>
            <pc:docMk/>
            <pc:sldMk cId="3097034186" sldId="296"/>
            <ac:picMk id="9" creationId="{C32BEF32-833A-0F5B-2D45-89260D606269}"/>
          </ac:picMkLst>
        </pc:picChg>
        <pc:picChg chg="add mod ord">
          <ac:chgData name="Wanyee Wong" userId="02884072-0f3b-471d-9cfb-535e7636b16a" providerId="ADAL" clId="{CB827594-31BB-45CD-A7A5-40B02A1FA12B}" dt="2024-04-12T09:53:40.562" v="303" actId="167"/>
          <ac:picMkLst>
            <pc:docMk/>
            <pc:sldMk cId="3097034186" sldId="296"/>
            <ac:picMk id="10" creationId="{9C414CFF-61CF-BFA1-04B0-B6F7920746FA}"/>
          </ac:picMkLst>
        </pc:picChg>
        <pc:picChg chg="add mod">
          <ac:chgData name="Wanyee Wong" userId="02884072-0f3b-471d-9cfb-535e7636b16a" providerId="ADAL" clId="{CB827594-31BB-45CD-A7A5-40B02A1FA12B}" dt="2024-04-12T09:54:31.504" v="320" actId="1076"/>
          <ac:picMkLst>
            <pc:docMk/>
            <pc:sldMk cId="3097034186" sldId="296"/>
            <ac:picMk id="11" creationId="{76EDB75A-7058-DDC0-1667-B6E535375F0B}"/>
          </ac:picMkLst>
        </pc:picChg>
        <pc:picChg chg="del mod">
          <ac:chgData name="Wanyee Wong" userId="02884072-0f3b-471d-9cfb-535e7636b16a" providerId="ADAL" clId="{CB827594-31BB-45CD-A7A5-40B02A1FA12B}" dt="2024-04-12T15:27:05.763" v="626" actId="478"/>
          <ac:picMkLst>
            <pc:docMk/>
            <pc:sldMk cId="3097034186" sldId="296"/>
            <ac:picMk id="12" creationId="{41D9C864-67F2-B8BF-0AC5-D774DDE83BE3}"/>
          </ac:picMkLst>
        </pc:picChg>
        <pc:picChg chg="add mod">
          <ac:chgData name="Wanyee Wong" userId="02884072-0f3b-471d-9cfb-535e7636b16a" providerId="ADAL" clId="{CB827594-31BB-45CD-A7A5-40B02A1FA12B}" dt="2024-04-12T09:54:34.985" v="321" actId="1076"/>
          <ac:picMkLst>
            <pc:docMk/>
            <pc:sldMk cId="3097034186" sldId="296"/>
            <ac:picMk id="13" creationId="{4B466E84-DD39-9537-B21B-D7AFDB9CE50A}"/>
          </ac:picMkLst>
        </pc:picChg>
        <pc:picChg chg="add mod ord">
          <ac:chgData name="Wanyee Wong" userId="02884072-0f3b-471d-9cfb-535e7636b16a" providerId="ADAL" clId="{CB827594-31BB-45CD-A7A5-40B02A1FA12B}" dt="2024-04-12T09:54:05.722" v="309" actId="167"/>
          <ac:picMkLst>
            <pc:docMk/>
            <pc:sldMk cId="3097034186" sldId="296"/>
            <ac:picMk id="14" creationId="{FAE5CCCD-4F80-FE40-ABC3-8A97D988DB58}"/>
          </ac:picMkLst>
        </pc:picChg>
        <pc:picChg chg="add del mod ord">
          <ac:chgData name="Wanyee Wong" userId="02884072-0f3b-471d-9cfb-535e7636b16a" providerId="ADAL" clId="{CB827594-31BB-45CD-A7A5-40B02A1FA12B}" dt="2024-04-12T09:53:43.628" v="304" actId="478"/>
          <ac:picMkLst>
            <pc:docMk/>
            <pc:sldMk cId="3097034186" sldId="296"/>
            <ac:picMk id="15" creationId="{6656C488-99DE-51B4-FD1C-7628B15FB2DD}"/>
          </ac:picMkLst>
        </pc:picChg>
        <pc:picChg chg="add del mod ord">
          <ac:chgData name="Wanyee Wong" userId="02884072-0f3b-471d-9cfb-535e7636b16a" providerId="ADAL" clId="{CB827594-31BB-45CD-A7A5-40B02A1FA12B}" dt="2024-04-12T09:54:13.963" v="313" actId="478"/>
          <ac:picMkLst>
            <pc:docMk/>
            <pc:sldMk cId="3097034186" sldId="296"/>
            <ac:picMk id="16" creationId="{0BBEF2E3-19D4-FDF3-00A5-433D660013F1}"/>
          </ac:picMkLst>
        </pc:picChg>
        <pc:picChg chg="add del mod ord">
          <ac:chgData name="Wanyee Wong" userId="02884072-0f3b-471d-9cfb-535e7636b16a" providerId="ADAL" clId="{CB827594-31BB-45CD-A7A5-40B02A1FA12B}" dt="2024-04-12T09:54:14.552" v="314" actId="478"/>
          <ac:picMkLst>
            <pc:docMk/>
            <pc:sldMk cId="3097034186" sldId="296"/>
            <ac:picMk id="17" creationId="{3075D442-FAC8-89E0-DB33-D10460BA48F8}"/>
          </ac:picMkLst>
        </pc:picChg>
        <pc:picChg chg="add del mod ord">
          <ac:chgData name="Wanyee Wong" userId="02884072-0f3b-471d-9cfb-535e7636b16a" providerId="ADAL" clId="{CB827594-31BB-45CD-A7A5-40B02A1FA12B}" dt="2024-04-12T09:54:08.436" v="310" actId="478"/>
          <ac:picMkLst>
            <pc:docMk/>
            <pc:sldMk cId="3097034186" sldId="296"/>
            <ac:picMk id="18" creationId="{C32EBD26-6F46-EEBE-F20B-0BA662EBB545}"/>
          </ac:picMkLst>
        </pc:picChg>
        <pc:picChg chg="add del mod ord">
          <ac:chgData name="Wanyee Wong" userId="02884072-0f3b-471d-9cfb-535e7636b16a" providerId="ADAL" clId="{CB827594-31BB-45CD-A7A5-40B02A1FA12B}" dt="2024-04-12T09:54:12.588" v="312" actId="478"/>
          <ac:picMkLst>
            <pc:docMk/>
            <pc:sldMk cId="3097034186" sldId="296"/>
            <ac:picMk id="19" creationId="{F04521BC-6ED8-4A33-D461-82D946E258AE}"/>
          </ac:picMkLst>
        </pc:picChg>
      </pc:sldChg>
      <pc:sldChg chg="addSp delSp modSp add mod ord modNotesTx">
        <pc:chgData name="Wanyee Wong" userId="02884072-0f3b-471d-9cfb-535e7636b16a" providerId="ADAL" clId="{CB827594-31BB-45CD-A7A5-40B02A1FA12B}" dt="2024-04-12T15:27:24.755" v="629" actId="20577"/>
        <pc:sldMkLst>
          <pc:docMk/>
          <pc:sldMk cId="258029358" sldId="297"/>
        </pc:sldMkLst>
        <pc:spChg chg="add mod">
          <ac:chgData name="Wanyee Wong" userId="02884072-0f3b-471d-9cfb-535e7636b16a" providerId="ADAL" clId="{CB827594-31BB-45CD-A7A5-40B02A1FA12B}" dt="2024-04-12T10:50:34.143" v="427" actId="20577"/>
          <ac:spMkLst>
            <pc:docMk/>
            <pc:sldMk cId="258029358" sldId="297"/>
            <ac:spMk id="15" creationId="{F2B78BA9-9B41-01FA-1F0D-BC0350C05EDB}"/>
          </ac:spMkLst>
        </pc:spChg>
        <pc:spChg chg="add mod">
          <ac:chgData name="Wanyee Wong" userId="02884072-0f3b-471d-9cfb-535e7636b16a" providerId="ADAL" clId="{CB827594-31BB-45CD-A7A5-40B02A1FA12B}" dt="2024-04-12T10:50:36.082" v="428" actId="20577"/>
          <ac:spMkLst>
            <pc:docMk/>
            <pc:sldMk cId="258029358" sldId="297"/>
            <ac:spMk id="16" creationId="{AFD01815-2C0B-BEE5-ABBB-52E6853F17AF}"/>
          </ac:spMkLst>
        </pc:spChg>
        <pc:spChg chg="add mod">
          <ac:chgData name="Wanyee Wong" userId="02884072-0f3b-471d-9cfb-535e7636b16a" providerId="ADAL" clId="{CB827594-31BB-45CD-A7A5-40B02A1FA12B}" dt="2024-04-12T10:50:40.820" v="431" actId="20577"/>
          <ac:spMkLst>
            <pc:docMk/>
            <pc:sldMk cId="258029358" sldId="297"/>
            <ac:spMk id="17" creationId="{66A9EB7C-23D1-65C1-3218-BCA3E31929A0}"/>
          </ac:spMkLst>
        </pc:spChg>
        <pc:spChg chg="add mod">
          <ac:chgData name="Wanyee Wong" userId="02884072-0f3b-471d-9cfb-535e7636b16a" providerId="ADAL" clId="{CB827594-31BB-45CD-A7A5-40B02A1FA12B}" dt="2024-04-12T10:50:43.308" v="432" actId="20577"/>
          <ac:spMkLst>
            <pc:docMk/>
            <pc:sldMk cId="258029358" sldId="297"/>
            <ac:spMk id="18" creationId="{F8B28076-8509-2748-9C0B-100DF7BE6A33}"/>
          </ac:spMkLst>
        </pc:spChg>
        <pc:spChg chg="add mod">
          <ac:chgData name="Wanyee Wong" userId="02884072-0f3b-471d-9cfb-535e7636b16a" providerId="ADAL" clId="{CB827594-31BB-45CD-A7A5-40B02A1FA12B}" dt="2024-04-12T10:50:38.105" v="429" actId="20577"/>
          <ac:spMkLst>
            <pc:docMk/>
            <pc:sldMk cId="258029358" sldId="297"/>
            <ac:spMk id="19" creationId="{E1B64B33-68CE-7177-B194-C8573D546097}"/>
          </ac:spMkLst>
        </pc:spChg>
        <pc:picChg chg="mod">
          <ac:chgData name="Wanyee Wong" userId="02884072-0f3b-471d-9cfb-535e7636b16a" providerId="ADAL" clId="{CB827594-31BB-45CD-A7A5-40B02A1FA12B}" dt="2024-04-12T09:40:59.013" v="288" actId="1076"/>
          <ac:picMkLst>
            <pc:docMk/>
            <pc:sldMk cId="258029358" sldId="297"/>
            <ac:picMk id="2" creationId="{FDCA5562-54A5-584D-472E-EB4E4DD47973}"/>
          </ac:picMkLst>
        </pc:picChg>
        <pc:picChg chg="mod">
          <ac:chgData name="Wanyee Wong" userId="02884072-0f3b-471d-9cfb-535e7636b16a" providerId="ADAL" clId="{CB827594-31BB-45CD-A7A5-40B02A1FA12B}" dt="2024-04-12T09:53:17.260" v="298" actId="1076"/>
          <ac:picMkLst>
            <pc:docMk/>
            <pc:sldMk cId="258029358" sldId="297"/>
            <ac:picMk id="4" creationId="{2A77C195-1835-6574-4F08-1369451DF8A7}"/>
          </ac:picMkLst>
        </pc:picChg>
        <pc:picChg chg="mod">
          <ac:chgData name="Wanyee Wong" userId="02884072-0f3b-471d-9cfb-535e7636b16a" providerId="ADAL" clId="{CB827594-31BB-45CD-A7A5-40B02A1FA12B}" dt="2024-04-12T09:41:03.821" v="289" actId="1076"/>
          <ac:picMkLst>
            <pc:docMk/>
            <pc:sldMk cId="258029358" sldId="297"/>
            <ac:picMk id="5" creationId="{43542117-1129-A352-E608-CE03E492E580}"/>
          </ac:picMkLst>
        </pc:picChg>
        <pc:picChg chg="mod">
          <ac:chgData name="Wanyee Wong" userId="02884072-0f3b-471d-9cfb-535e7636b16a" providerId="ADAL" clId="{CB827594-31BB-45CD-A7A5-40B02A1FA12B}" dt="2024-04-12T09:53:19.937" v="299" actId="1076"/>
          <ac:picMkLst>
            <pc:docMk/>
            <pc:sldMk cId="258029358" sldId="297"/>
            <ac:picMk id="6" creationId="{183ED88C-BCFA-8DD5-47EB-496B95EA1B7F}"/>
          </ac:picMkLst>
        </pc:picChg>
        <pc:picChg chg="del">
          <ac:chgData name="Wanyee Wong" userId="02884072-0f3b-471d-9cfb-535e7636b16a" providerId="ADAL" clId="{CB827594-31BB-45CD-A7A5-40B02A1FA12B}" dt="2024-04-12T09:40:21.556" v="274" actId="478"/>
          <ac:picMkLst>
            <pc:docMk/>
            <pc:sldMk cId="258029358" sldId="297"/>
            <ac:picMk id="7" creationId="{ADC38C3D-76AD-A417-9374-44649CC0DD0D}"/>
          </ac:picMkLst>
        </pc:picChg>
        <pc:picChg chg="mod">
          <ac:chgData name="Wanyee Wong" userId="02884072-0f3b-471d-9cfb-535e7636b16a" providerId="ADAL" clId="{CB827594-31BB-45CD-A7A5-40B02A1FA12B}" dt="2024-04-12T09:41:14.092" v="292" actId="1076"/>
          <ac:picMkLst>
            <pc:docMk/>
            <pc:sldMk cId="258029358" sldId="297"/>
            <ac:picMk id="8" creationId="{1DB4811B-8A4D-78F6-8200-A723F68361E9}"/>
          </ac:picMkLst>
        </pc:picChg>
        <pc:picChg chg="add mod">
          <ac:chgData name="Wanyee Wong" userId="02884072-0f3b-471d-9cfb-535e7636b16a" providerId="ADAL" clId="{CB827594-31BB-45CD-A7A5-40B02A1FA12B}" dt="2024-04-12T15:27:02.872" v="625" actId="14100"/>
          <ac:picMkLst>
            <pc:docMk/>
            <pc:sldMk cId="258029358" sldId="297"/>
            <ac:picMk id="10" creationId="{55FBCD81-9F5D-D9E1-78CF-8E9F7AEA106D}"/>
          </ac:picMkLst>
        </pc:picChg>
        <pc:picChg chg="del">
          <ac:chgData name="Wanyee Wong" userId="02884072-0f3b-471d-9cfb-535e7636b16a" providerId="ADAL" clId="{CB827594-31BB-45CD-A7A5-40B02A1FA12B}" dt="2024-04-12T09:40:21.556" v="274" actId="478"/>
          <ac:picMkLst>
            <pc:docMk/>
            <pc:sldMk cId="258029358" sldId="297"/>
            <ac:picMk id="10" creationId="{9C414CFF-61CF-BFA1-04B0-B6F7920746FA}"/>
          </ac:picMkLst>
        </pc:picChg>
        <pc:picChg chg="del">
          <ac:chgData name="Wanyee Wong" userId="02884072-0f3b-471d-9cfb-535e7636b16a" providerId="ADAL" clId="{CB827594-31BB-45CD-A7A5-40B02A1FA12B}" dt="2024-04-12T09:40:21.556" v="274" actId="478"/>
          <ac:picMkLst>
            <pc:docMk/>
            <pc:sldMk cId="258029358" sldId="297"/>
            <ac:picMk id="11" creationId="{76EDB75A-7058-DDC0-1667-B6E535375F0B}"/>
          </ac:picMkLst>
        </pc:picChg>
        <pc:picChg chg="del">
          <ac:chgData name="Wanyee Wong" userId="02884072-0f3b-471d-9cfb-535e7636b16a" providerId="ADAL" clId="{CB827594-31BB-45CD-A7A5-40B02A1FA12B}" dt="2024-04-12T15:26:38.212" v="620" actId="478"/>
          <ac:picMkLst>
            <pc:docMk/>
            <pc:sldMk cId="258029358" sldId="297"/>
            <ac:picMk id="12" creationId="{41D9C864-67F2-B8BF-0AC5-D774DDE83BE3}"/>
          </ac:picMkLst>
        </pc:picChg>
        <pc:picChg chg="del">
          <ac:chgData name="Wanyee Wong" userId="02884072-0f3b-471d-9cfb-535e7636b16a" providerId="ADAL" clId="{CB827594-31BB-45CD-A7A5-40B02A1FA12B}" dt="2024-04-12T09:40:21.556" v="274" actId="478"/>
          <ac:picMkLst>
            <pc:docMk/>
            <pc:sldMk cId="258029358" sldId="297"/>
            <ac:picMk id="13" creationId="{4B466E84-DD39-9537-B21B-D7AFDB9CE50A}"/>
          </ac:picMkLst>
        </pc:picChg>
        <pc:picChg chg="del">
          <ac:chgData name="Wanyee Wong" userId="02884072-0f3b-471d-9cfb-535e7636b16a" providerId="ADAL" clId="{CB827594-31BB-45CD-A7A5-40B02A1FA12B}" dt="2024-04-12T09:40:21.556" v="274" actId="478"/>
          <ac:picMkLst>
            <pc:docMk/>
            <pc:sldMk cId="258029358" sldId="297"/>
            <ac:picMk id="14" creationId="{FAE5CCCD-4F80-FE40-ABC3-8A97D988DB58}"/>
          </ac:picMkLst>
        </pc:picChg>
      </pc:sldChg>
    </pc:docChg>
  </pc:docChgLst>
  <pc:docChgLst>
    <pc:chgData name="Wanyee Wong" userId="S::yunw@norceresearch.no::02884072-0f3b-471d-9cfb-535e7636b16a" providerId="AD" clId="Web-{2077B880-65DC-72AF-F326-41D07338B4D3}"/>
    <pc:docChg chg="modSld">
      <pc:chgData name="Wanyee Wong" userId="S::yunw@norceresearch.no::02884072-0f3b-471d-9cfb-535e7636b16a" providerId="AD" clId="Web-{2077B880-65DC-72AF-F326-41D07338B4D3}" dt="2024-04-12T21:17:30.954" v="0"/>
      <pc:docMkLst>
        <pc:docMk/>
      </pc:docMkLst>
      <pc:sldChg chg="modNotes">
        <pc:chgData name="Wanyee Wong" userId="S::yunw@norceresearch.no::02884072-0f3b-471d-9cfb-535e7636b16a" providerId="AD" clId="Web-{2077B880-65DC-72AF-F326-41D07338B4D3}" dt="2024-04-12T21:17:30.954" v="0"/>
        <pc:sldMkLst>
          <pc:docMk/>
          <pc:sldMk cId="325510225" sldId="27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13.04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06889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0735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69213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550141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54576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48724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36949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rgbClr val="CED0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25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17.png"/><Relationship Id="rId9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29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map of the north pole&#10;&#10;Description automatically generated">
            <a:extLst>
              <a:ext uri="{FF2B5EF4-FFF2-40B4-BE49-F238E27FC236}">
                <a16:creationId xmlns:a16="http://schemas.microsoft.com/office/drawing/2014/main" id="{7D18E530-C82B-C83C-7282-C0743C01A4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51638" y="359292"/>
            <a:ext cx="3240361" cy="256711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4A7253B-8590-2A8E-BD73-ABBF0D6513CB}"/>
              </a:ext>
            </a:extLst>
          </p:cNvPr>
          <p:cNvSpPr txBox="1"/>
          <p:nvPr/>
        </p:nvSpPr>
        <p:spPr>
          <a:xfrm>
            <a:off x="263352" y="838453"/>
            <a:ext cx="8652710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</a:pPr>
            <a:r>
              <a:rPr lang="en-US" sz="1600" b="1" u="sng" dirty="0">
                <a:latin typeface="Cambria" panose="02040503050406030204" pitchFamily="18" charset="0"/>
                <a:ea typeface="Cambria" panose="02040503050406030204" pitchFamily="18" charset="0"/>
              </a:rPr>
              <a:t>Abstract</a:t>
            </a:r>
          </a:p>
          <a:p>
            <a:pPr algn="just">
              <a:spcBef>
                <a:spcPts val="600"/>
              </a:spcBef>
            </a:pP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Sea ice conditions in the </a:t>
            </a:r>
            <a:r>
              <a:rPr lang="en-US" sz="1200" b="1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eastern Fram Strait </a:t>
            </a: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during the Dansgaard-Oeschger (D-O) events, encompassing a time interval between 40 and 33.5 ka b2k, were reconstructed using biomarkers in detailed resolutions (20-40 </a:t>
            </a:r>
            <a:r>
              <a:rPr lang="en-US" sz="12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yr</a:t>
            </a: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/sample). The role of the Nordic Seas sea ice has long been recognized as a significant factor influencing the D-O climate changes. Preliminary results suggest that repeated </a:t>
            </a:r>
            <a:r>
              <a:rPr lang="en-US" sz="1200" b="1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polynyas</a:t>
            </a: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were both present during HS-4 and during GS-8, but with different characteristics. The retreat of the extended sea ice cover in the eastern Fram Strait occurred earlier during the GS-GI transition than during the HS-GI transition. Both interstadials were characterized by a </a:t>
            </a:r>
            <a:r>
              <a:rPr lang="en-US" sz="1200" b="1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seasonal sea ice cover</a:t>
            </a: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, with the summer/fall sea ice edge moving farther north than the research area occasionally.</a:t>
            </a: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6A4AED99-7870-398F-2FF3-EFD6A8BFC4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232" y="3516110"/>
            <a:ext cx="3553405" cy="272120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3EB86D6-AF4E-F3FF-0E4E-4E77CFA104F0}"/>
              </a:ext>
            </a:extLst>
          </p:cNvPr>
          <p:cNvSpPr txBox="1"/>
          <p:nvPr/>
        </p:nvSpPr>
        <p:spPr>
          <a:xfrm flipH="1">
            <a:off x="4295720" y="2546613"/>
            <a:ext cx="324036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US" sz="1600" b="1" u="sng" dirty="0">
                <a:latin typeface="Cambria" panose="02040503050406030204" pitchFamily="18" charset="0"/>
                <a:ea typeface="Cambria" panose="02040503050406030204" pitchFamily="18" charset="0"/>
              </a:rPr>
              <a:t>Resul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3949244-97E1-7FCA-29C6-6187A4565158}"/>
              </a:ext>
            </a:extLst>
          </p:cNvPr>
          <p:cNvSpPr txBox="1"/>
          <p:nvPr/>
        </p:nvSpPr>
        <p:spPr>
          <a:xfrm>
            <a:off x="263352" y="2546613"/>
            <a:ext cx="4032368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en-US" sz="1600" b="1" u="sng" dirty="0">
                <a:latin typeface="Cambria" panose="02040503050406030204" pitchFamily="18" charset="0"/>
                <a:ea typeface="Cambria" panose="02040503050406030204" pitchFamily="18" charset="0"/>
              </a:rPr>
              <a:t>Methodology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hronology based on 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magnetic susceptibility 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fine-tuning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Lipid biomarker analyses: highly branched isoprenoids (HBIs) and sterol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12854C-EC4C-38F4-E530-33D8CC14B7CD}"/>
              </a:ext>
            </a:extLst>
          </p:cNvPr>
          <p:cNvSpPr txBox="1"/>
          <p:nvPr/>
        </p:nvSpPr>
        <p:spPr>
          <a:xfrm>
            <a:off x="7902355" y="3124125"/>
            <a:ext cx="417030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US" sz="1600" b="1" u="sng" dirty="0">
                <a:latin typeface="Cambria" panose="02040503050406030204" pitchFamily="18" charset="0"/>
                <a:ea typeface="Cambria" panose="02040503050406030204" pitchFamily="18" charset="0"/>
              </a:rPr>
              <a:t>Summary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latin typeface="Cambria" panose="02040503050406030204" pitchFamily="18" charset="0"/>
                <a:ea typeface="Cambria" panose="02040503050406030204" pitchFamily="18" charset="0"/>
              </a:rPr>
              <a:t>Polynyas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were active during GSs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Sea ice retreated later during the HS-GI transition than during the GS-GI transition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GIs were characterized by </a:t>
            </a:r>
            <a:r>
              <a:rPr lang="en-US" sz="1200" b="1" dirty="0">
                <a:latin typeface="Cambria" panose="02040503050406030204" pitchFamily="18" charset="0"/>
                <a:ea typeface="Cambria" panose="02040503050406030204" pitchFamily="18" charset="0"/>
              </a:rPr>
              <a:t>seasonal sea ic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C0C1480-C91F-8149-28AD-548E0F083401}"/>
              </a:ext>
            </a:extLst>
          </p:cNvPr>
          <p:cNvSpPr txBox="1"/>
          <p:nvPr/>
        </p:nvSpPr>
        <p:spPr>
          <a:xfrm>
            <a:off x="1967880" y="273856"/>
            <a:ext cx="765651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effectLst/>
                <a:latin typeface="Cambria" panose="02040503050406030204" pitchFamily="18" charset="0"/>
                <a:ea typeface="Cambria" panose="02040503050406030204" pitchFamily="18" charset="0"/>
              </a:rPr>
              <a:t>Millennial-scale variations of sea ice in the northern Nordic Seas</a:t>
            </a:r>
            <a:br>
              <a:rPr lang="en-US" sz="1600" b="1" dirty="0">
                <a:effectLst/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Wanyee Wong</a:t>
            </a:r>
            <a:r>
              <a:rPr lang="en-US" sz="12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1</a:t>
            </a: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Bjørg</a:t>
            </a: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Risebrobakken</a:t>
            </a:r>
            <a:r>
              <a:rPr lang="en-US" sz="12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1</a:t>
            </a: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, Kirsten Fahl</a:t>
            </a:r>
            <a:r>
              <a:rPr lang="en-US" sz="12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3</a:t>
            </a: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, Ruediger Stein</a:t>
            </a:r>
            <a:r>
              <a:rPr lang="en-US" sz="12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3,4,5</a:t>
            </a: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Eystein</a:t>
            </a: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Jansen</a:t>
            </a:r>
            <a:r>
              <a:rPr lang="en-US" sz="12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1,2</a:t>
            </a:r>
            <a:r>
              <a:rPr lang="en-US" sz="12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, Katherine Kissel</a:t>
            </a:r>
            <a:r>
              <a:rPr lang="en-US" sz="12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6</a:t>
            </a:r>
            <a:endParaRPr lang="en-US" sz="16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95AE6BD-C202-5DD8-5D66-D1E9A94B51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624" y="323044"/>
            <a:ext cx="479376" cy="67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1CBAE781-196D-A28C-CD49-70CB3457F5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95720" y="2885166"/>
            <a:ext cx="3775129" cy="3449613"/>
          </a:xfrm>
          <a:prstGeom prst="rect">
            <a:avLst/>
          </a:prstGeom>
        </p:spPr>
      </p:pic>
      <p:pic>
        <p:nvPicPr>
          <p:cNvPr id="11" name="Picture 10" descr="A map of the north pole&#10;&#10;Description automatically generated">
            <a:extLst>
              <a:ext uri="{FF2B5EF4-FFF2-40B4-BE49-F238E27FC236}">
                <a16:creationId xmlns:a16="http://schemas.microsoft.com/office/drawing/2014/main" id="{6EC94632-A58B-B244-49F4-B4B4F3A976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02355" y="4509120"/>
            <a:ext cx="1850882" cy="1630748"/>
          </a:xfrm>
          <a:prstGeom prst="rect">
            <a:avLst/>
          </a:prstGeom>
        </p:spPr>
      </p:pic>
      <p:pic>
        <p:nvPicPr>
          <p:cNvPr id="13" name="Picture 12" descr="A map of the icebergs&#10;&#10;Description automatically generated">
            <a:extLst>
              <a:ext uri="{FF2B5EF4-FFF2-40B4-BE49-F238E27FC236}">
                <a16:creationId xmlns:a16="http://schemas.microsoft.com/office/drawing/2014/main" id="{E0A9C221-3A20-A1D5-DE9B-D9502E372F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53237" y="4509120"/>
            <a:ext cx="1847345" cy="1627632"/>
          </a:xfrm>
          <a:prstGeom prst="rect">
            <a:avLst/>
          </a:prstGeom>
        </p:spPr>
      </p:pic>
      <p:pic>
        <p:nvPicPr>
          <p:cNvPr id="14" name="Picture 13" descr="A person in white shirt&#10;&#10;Description automatically generated">
            <a:extLst>
              <a:ext uri="{FF2B5EF4-FFF2-40B4-BE49-F238E27FC236}">
                <a16:creationId xmlns:a16="http://schemas.microsoft.com/office/drawing/2014/main" id="{2A722E6D-AC7A-303F-68A4-524CF8D9BA3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2080" t="926" r="30825" b="24986"/>
          <a:stretch/>
        </p:blipFill>
        <p:spPr>
          <a:xfrm flipH="1">
            <a:off x="10920536" y="4987694"/>
            <a:ext cx="1271464" cy="1333469"/>
          </a:xfrm>
          <a:prstGeom prst="rect">
            <a:avLst/>
          </a:prstGeom>
        </p:spPr>
      </p:pic>
      <p:sp>
        <p:nvSpPr>
          <p:cNvPr id="2" name="Explosion: 8 Points 1">
            <a:extLst>
              <a:ext uri="{FF2B5EF4-FFF2-40B4-BE49-F238E27FC236}">
                <a16:creationId xmlns:a16="http://schemas.microsoft.com/office/drawing/2014/main" id="{9A3813BF-4B1E-022C-726E-3ABC910C74AC}"/>
              </a:ext>
            </a:extLst>
          </p:cNvPr>
          <p:cNvSpPr/>
          <p:nvPr/>
        </p:nvSpPr>
        <p:spPr>
          <a:xfrm rot="7689718">
            <a:off x="11622588" y="4571828"/>
            <a:ext cx="421429" cy="493764"/>
          </a:xfrm>
          <a:prstGeom prst="irregularSeal1">
            <a:avLst/>
          </a:prstGeom>
          <a:solidFill>
            <a:srgbClr val="FF5E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CF8F28-67DC-1814-58AC-E263D6E602B5}"/>
              </a:ext>
            </a:extLst>
          </p:cNvPr>
          <p:cNvSpPr txBox="1"/>
          <p:nvPr/>
        </p:nvSpPr>
        <p:spPr>
          <a:xfrm>
            <a:off x="4474200" y="6442502"/>
            <a:ext cx="77178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7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1</a:t>
            </a:r>
            <a:r>
              <a:rPr lang="en-US" sz="7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NORCE Norwegian Research Centre, </a:t>
            </a:r>
            <a:r>
              <a:rPr lang="en-US" sz="7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Bjerknes</a:t>
            </a:r>
            <a:r>
              <a:rPr lang="en-US" sz="7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Centre for Climate Research</a:t>
            </a:r>
            <a:r>
              <a:rPr lang="en-US" sz="7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. </a:t>
            </a:r>
            <a:r>
              <a:rPr lang="en-US" sz="7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2</a:t>
            </a:r>
            <a:r>
              <a:rPr lang="en-US" sz="7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Department of Earth Science, University of Bergen, </a:t>
            </a:r>
            <a:r>
              <a:rPr lang="en-US" sz="7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Bjerknes</a:t>
            </a:r>
            <a:r>
              <a:rPr lang="en-US" sz="7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Centre for Climate Research. </a:t>
            </a:r>
            <a:r>
              <a:rPr lang="en-US" sz="7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3</a:t>
            </a:r>
            <a:r>
              <a:rPr lang="en-US" sz="7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Alfred Wegener Institute, Helmholtz Centre for Polar and Marine Research</a:t>
            </a:r>
            <a:r>
              <a:rPr lang="en-US" sz="7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. </a:t>
            </a:r>
            <a:r>
              <a:rPr lang="en-US" sz="7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4</a:t>
            </a:r>
            <a:r>
              <a:rPr lang="en-US" sz="7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Faculty of Geosciences (FB5) and Center for Marine Environmental Sciences (MARUM), University of Bremen</a:t>
            </a:r>
            <a:r>
              <a:rPr lang="en-US" sz="7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. </a:t>
            </a:r>
            <a:r>
              <a:rPr lang="en-US" sz="7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5</a:t>
            </a:r>
            <a:r>
              <a:rPr lang="en-US" sz="7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Key Laboratory of Marine Chemistry Theory and Technology, Ocean University of China</a:t>
            </a:r>
            <a:r>
              <a:rPr lang="en-US" sz="700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. </a:t>
            </a:r>
            <a:r>
              <a:rPr lang="en-US" sz="700" baseline="300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6</a:t>
            </a:r>
            <a:r>
              <a:rPr lang="en-US" sz="7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Laboratoire des Sciences du </a:t>
            </a:r>
            <a:r>
              <a:rPr lang="en-US" sz="7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limat</a:t>
            </a:r>
            <a:r>
              <a:rPr lang="en-US" sz="7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et de </a:t>
            </a:r>
            <a:r>
              <a:rPr lang="en-US" sz="700" dirty="0" err="1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l'Environnement</a:t>
            </a:r>
            <a:r>
              <a:rPr lang="en-US" sz="7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, CEA/CNRS/UVSQ.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40874041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F103B4D-9A71-BDE4-B93F-339B38798D8B}"/>
              </a:ext>
            </a:extLst>
          </p:cNvPr>
          <p:cNvSpPr txBox="1"/>
          <p:nvPr/>
        </p:nvSpPr>
        <p:spPr>
          <a:xfrm>
            <a:off x="263352" y="838453"/>
            <a:ext cx="11665296" cy="5233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Reference</a:t>
            </a:r>
          </a:p>
          <a:p>
            <a:pPr marL="171450" indent="-1714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El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bani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Altuna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N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Ezat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M.M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Smik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L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Muschitiello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F., Belt, S.T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Knies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J., Rasmussen, T.L., 2024. Sea ice-ocean coupling during Heinrich Stadials in the Atlantic–Arctic gateway. Sci Rep 14, 1065. https://doi.org/10.1038/s41598-024-51532-7</a:t>
            </a:r>
          </a:p>
          <a:p>
            <a:pPr marL="171450" indent="-1714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Hoff, U., Rasmussen, T.L., Stein, R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Ezat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M.M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Fahl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K., 2016. Sea ice and millennial-scale climate variability in the Nordic seas 90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kyr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 ago to present. Nat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Commun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 7. https://doi.org/10.1038/ncomms12247</a:t>
            </a:r>
          </a:p>
          <a:p>
            <a:pPr marL="171450" indent="-1714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Kremer, A., Stein, R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Fahl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K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Bauch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H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Mackensen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A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Niessen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F., 2018a. A 190-ka biomarker record revealing interactions between sea ice, Atlantic Water inflow and ice sheet activity in eastern Fram Strait.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arktos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 4, 1–17. https://doi.org/10.1007/s41063-018-0052-0</a:t>
            </a:r>
          </a:p>
          <a:p>
            <a:pPr marL="171450" indent="-1714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Kremer, A., Stein, R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Fahl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K., Ji, Z., Yang, Z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Wiers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S., Matthiessen, J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Forwick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M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Löwemark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L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O’Regan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M., Chen, J., Snowball, I., 2018b. Changes in sea ice cover and ice sheet extent at the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Yermak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 Plateau during the last 160 ka – Reconstructions from biomarker records. Quat Sci Rev 182, 93–108. https://doi.org/10.1016/j.quascirev.2017.12.016</a:t>
            </a:r>
          </a:p>
          <a:p>
            <a:pPr marL="171450" indent="-1714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Malmierca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-Vallet, I., Sime, L.C., 2023. Dansgaard–Oeschger events in climate models: review and baseline Marine Isotope Stage 3 (MIS3) protocol. Climate of the Past 19, 915–942. https://doi.org/10.5194/cp-19-915-2023</a:t>
            </a:r>
          </a:p>
          <a:p>
            <a:pPr marL="171450" indent="-1714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Müller, J., Wagner, A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Fahl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K., Stein, R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Prange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M., Lohmann, G., 2011. Towards quantitative sea ice reconstructions in the northern North Atlantic: A combined biomarker and numerical modelling approach. Earth Planet Sci Lett 306, 137–148. https://doi.org/10.1016/j.epsl.2011.04.011</a:t>
            </a:r>
          </a:p>
          <a:p>
            <a:pPr marL="171450" indent="-1714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Sadatzki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H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Maffezzoli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N., Dokken, T.M., Simon, M.H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Berben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S.M.P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Fahl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K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Kjær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H.A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Spolaor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A., Stein, R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Vallelonga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P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Vinther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B.M., Jansen, E., 2020. Rapid reductions and millennial-scale variability in Nordic Seas sea ice cover during abrupt glacial climate changes. Proceedings of the National Academy of Sciences 117, 29478–29486. https://doi.org/10.1073/pnas.2005849117</a:t>
            </a:r>
          </a:p>
          <a:p>
            <a:pPr marL="171450" indent="-1714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Sadatzki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H., Dokken, T.M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Berben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S.M.P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Muschitiello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F., Stein, R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Fahl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K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Menviel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L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Timmermann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A., Jansen, E., 2019. Sea ice variability in the southern Norwegian Sea during glacial Dansgaard-Oeschger climate cycles. Sci Adv 5. https://doi.org/10.1126/sciadv.aau6174</a:t>
            </a:r>
          </a:p>
          <a:p>
            <a:pPr marL="171450" indent="-1714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Scoto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F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Sadatzki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H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Maffezzoli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N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Barbante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C., Gagliardi, A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Varin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C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Vallelonga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P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Gkinis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V., Dahl-Jensen, D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Kjær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H.A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Burgay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F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Saiz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-Lopez, A., Stein, R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Spolaor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A., 2022. Sea ice fluctuations in the Baffin Bay and the Labrador Sea during glacial abrupt climate changes. Proceedings of the National Academy of Sciences 119. https://doi.org/10.1073/pnas.2203468119</a:t>
            </a:r>
          </a:p>
          <a:p>
            <a:pPr marL="171450" indent="-1714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Stein, R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Fahl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K., Schreck, M., Knorr, G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Niessen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F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Forwick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M., Gebhardt, C., Jensen, L., Kaminski, M., Kopf, A., Matthiessen, J.,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Jokat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, W., Lohmann, G., 2016. Evidence for ice-free summers in the late Miocene central Arctic Ocean. Nat </a:t>
            </a:r>
            <a:r>
              <a:rPr lang="en-US" sz="1050" dirty="0" err="1">
                <a:latin typeface="Cambria" panose="02040503050406030204" pitchFamily="18" charset="0"/>
                <a:ea typeface="Cambria" panose="02040503050406030204" pitchFamily="18" charset="0"/>
              </a:rPr>
              <a:t>Commun</a:t>
            </a:r>
            <a:r>
              <a:rPr lang="en-US" sz="1050" dirty="0">
                <a:latin typeface="Cambria" panose="02040503050406030204" pitchFamily="18" charset="0"/>
                <a:ea typeface="Cambria" panose="02040503050406030204" pitchFamily="18" charset="0"/>
              </a:rPr>
              <a:t> 7. https://doi.org/10.1038/ncomms11148</a:t>
            </a:r>
          </a:p>
        </p:txBody>
      </p:sp>
    </p:spTree>
    <p:extLst>
      <p:ext uri="{BB962C8B-B14F-4D97-AF65-F5344CB8AC3E}">
        <p14:creationId xmlns:p14="http://schemas.microsoft.com/office/powerpoint/2010/main" val="35723909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A7253B-8590-2A8E-BD73-ABBF0D6513CB}"/>
              </a:ext>
            </a:extLst>
          </p:cNvPr>
          <p:cNvSpPr txBox="1"/>
          <p:nvPr/>
        </p:nvSpPr>
        <p:spPr>
          <a:xfrm>
            <a:off x="263352" y="838453"/>
            <a:ext cx="7153634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just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en-US" sz="2400" b="1" u="sng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ackground information</a:t>
            </a:r>
          </a:p>
          <a:p>
            <a:pPr marL="0" indent="0" algn="just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endParaRPr lang="en-US" sz="2000" b="1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 algn="just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r>
              <a:rPr lang="en-US" sz="20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adial (cold)</a:t>
            </a:r>
            <a:r>
              <a:rPr lang="en-US" sz="20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:</a:t>
            </a:r>
          </a:p>
          <a:p>
            <a:pPr algn="just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a ice cover </a:t>
            </a:r>
            <a:r>
              <a:rPr lang="en-US" sz="24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+</a:t>
            </a:r>
          </a:p>
          <a:p>
            <a:pPr algn="just"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Ocean stratification </a:t>
            </a:r>
            <a:r>
              <a:rPr lang="en-US" sz="2400" b="1" dirty="0">
                <a:latin typeface="Cambria" panose="02040503050406030204" pitchFamily="18" charset="0"/>
                <a:ea typeface="Cambria" panose="02040503050406030204" pitchFamily="18" charset="0"/>
              </a:rPr>
              <a:t>+</a:t>
            </a:r>
          </a:p>
          <a:p>
            <a:pPr algn="just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Ocean-atmosphere heat and moisture exchange </a:t>
            </a:r>
            <a:r>
              <a:rPr lang="en-US" sz="24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—</a:t>
            </a:r>
            <a:endParaRPr lang="en-US" sz="2000" b="1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 algn="just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</a:pPr>
            <a:endParaRPr lang="en-US" sz="2000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0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rstadial (warm)</a:t>
            </a:r>
            <a:r>
              <a:rPr lang="en-US" sz="20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:</a:t>
            </a:r>
          </a:p>
          <a:p>
            <a:pPr algn="just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a ice cover </a:t>
            </a:r>
            <a:r>
              <a:rPr lang="en-US" sz="24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—</a:t>
            </a:r>
            <a:endParaRPr lang="en-US" sz="2000" b="1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just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Ocean stratification </a:t>
            </a:r>
            <a:r>
              <a:rPr lang="en-US" sz="24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—</a:t>
            </a:r>
          </a:p>
          <a:p>
            <a:pPr algn="just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Ocean-atmosphere heat and moisture exchange </a:t>
            </a:r>
            <a:r>
              <a:rPr lang="en-US" sz="24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+</a:t>
            </a:r>
            <a:endParaRPr lang="en-US" sz="2400" b="1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endParaRPr lang="en-US" sz="20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9ADDD75-30E9-0A48-9E55-CB7D3BF320C3}"/>
              </a:ext>
            </a:extLst>
          </p:cNvPr>
          <p:cNvSpPr txBox="1">
            <a:spLocks/>
          </p:cNvSpPr>
          <p:nvPr/>
        </p:nvSpPr>
        <p:spPr>
          <a:xfrm>
            <a:off x="5405992" y="6021288"/>
            <a:ext cx="3319974" cy="267872"/>
          </a:xfrm>
          <a:prstGeom prst="rect">
            <a:avLst/>
          </a:prstGeom>
        </p:spPr>
        <p:txBody>
          <a:bodyPr/>
          <a:lstStyle>
            <a:lvl1pPr marL="180975" indent="-180975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 typeface="Arial" pitchFamily="34" charset="0"/>
              <a:buChar char="›"/>
              <a:defRPr sz="16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1pPr>
            <a:lvl2pPr marL="355600" indent="-17462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rgbClr val="4E5761"/>
                </a:solidFill>
                <a:latin typeface="+mn-lt"/>
                <a:ea typeface="+mn-ea"/>
                <a:cs typeface="+mn-cs"/>
              </a:defRPr>
            </a:lvl2pPr>
            <a:lvl3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12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356400" indent="-176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›"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fi-FI" sz="1200" dirty="0">
                <a:solidFill>
                  <a:schemeClr val="tx1"/>
                </a:solidFill>
              </a:rPr>
              <a:t>Malmierca-Vallet and Sime, 2023.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10" name="Picture 9" descr="A diagram of a structure&#10;&#10;Description automatically generated">
            <a:extLst>
              <a:ext uri="{FF2B5EF4-FFF2-40B4-BE49-F238E27FC236}">
                <a16:creationId xmlns:a16="http://schemas.microsoft.com/office/drawing/2014/main" id="{61B54023-8C17-9481-27E6-8AF4E7C317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25966" y="0"/>
            <a:ext cx="29146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1817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804C860-329C-C595-429F-BB1D538FE269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840442"/>
            <a:ext cx="5400600" cy="4144647"/>
          </a:xfrm>
          <a:prstGeom prst="rect">
            <a:avLst/>
          </a:prstGeom>
        </p:spPr>
      </p:pic>
      <p:sp>
        <p:nvSpPr>
          <p:cNvPr id="2" name="Plassholder for lysbildenummer 1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A7253B-8590-2A8E-BD73-ABBF0D6513CB}"/>
              </a:ext>
            </a:extLst>
          </p:cNvPr>
          <p:cNvSpPr txBox="1"/>
          <p:nvPr/>
        </p:nvSpPr>
        <p:spPr>
          <a:xfrm>
            <a:off x="263352" y="838453"/>
            <a:ext cx="118093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2800" dirty="0">
                <a:latin typeface="Cambria" panose="02040503050406030204" pitchFamily="18" charset="0"/>
                <a:ea typeface="Cambria" panose="02040503050406030204" pitchFamily="18" charset="0"/>
              </a:rPr>
              <a:t>How did the northern Nordic Seas sea ice cover change during D-O events?</a:t>
            </a:r>
            <a:endParaRPr lang="en-US" sz="24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5AA51A-3C78-59A6-B141-18C2703FA026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1" y="1840442"/>
            <a:ext cx="5400602" cy="41446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E32E1D0-75D6-AEB9-9594-407B2E139CDA}"/>
              </a:ext>
            </a:extLst>
          </p:cNvPr>
          <p:cNvSpPr txBox="1"/>
          <p:nvPr/>
        </p:nvSpPr>
        <p:spPr>
          <a:xfrm>
            <a:off x="3377566" y="2389448"/>
            <a:ext cx="10801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D5FC4A-93FF-9646-F6EA-535108249DD1}"/>
              </a:ext>
            </a:extLst>
          </p:cNvPr>
          <p:cNvSpPr txBox="1"/>
          <p:nvPr/>
        </p:nvSpPr>
        <p:spPr>
          <a:xfrm>
            <a:off x="4979876" y="5985089"/>
            <a:ext cx="2232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Sadatzki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20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65632D-D1F7-633A-1CE7-1520A9837889}"/>
              </a:ext>
            </a:extLst>
          </p:cNvPr>
          <p:cNvSpPr txBox="1"/>
          <p:nvPr/>
        </p:nvSpPr>
        <p:spPr>
          <a:xfrm>
            <a:off x="8814166" y="2389447"/>
            <a:ext cx="10801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2687822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map of the north pole&#10;&#10;Description automatically generated">
            <a:extLst>
              <a:ext uri="{FF2B5EF4-FFF2-40B4-BE49-F238E27FC236}">
                <a16:creationId xmlns:a16="http://schemas.microsoft.com/office/drawing/2014/main" id="{EE7C83C4-F9B7-CA20-7244-BAA3DAF4FC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1" y="2824243"/>
            <a:ext cx="4364495" cy="3457693"/>
          </a:xfrm>
          <a:prstGeom prst="rect">
            <a:avLst/>
          </a:prstGeom>
        </p:spPr>
      </p:pic>
      <p:sp>
        <p:nvSpPr>
          <p:cNvPr id="2" name="Plassholder for lysbildenummer 1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A7253B-8590-2A8E-BD73-ABBF0D6513CB}"/>
              </a:ext>
            </a:extLst>
          </p:cNvPr>
          <p:cNvSpPr txBox="1"/>
          <p:nvPr/>
        </p:nvSpPr>
        <p:spPr>
          <a:xfrm>
            <a:off x="263352" y="838453"/>
            <a:ext cx="493900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US" sz="2400" b="1" u="sng" dirty="0">
                <a:latin typeface="Cambria" panose="02040503050406030204" pitchFamily="18" charset="0"/>
                <a:ea typeface="Cambria" panose="02040503050406030204" pitchFamily="18" charset="0"/>
              </a:rPr>
              <a:t>Chronology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Based on the fine tuning of the low field magnetic susceptibility (</a:t>
            </a:r>
            <a:r>
              <a:rPr lang="en-US" sz="2000" dirty="0" err="1">
                <a:latin typeface="Cambria" panose="02040503050406030204" pitchFamily="18" charset="0"/>
                <a:ea typeface="Cambria" panose="02040503050406030204" pitchFamily="18" charset="0"/>
              </a:rPr>
              <a:t>K</a:t>
            </a:r>
            <a:r>
              <a:rPr lang="en-US" sz="2000" baseline="-25000" dirty="0" err="1">
                <a:latin typeface="Cambria" panose="02040503050406030204" pitchFamily="18" charset="0"/>
                <a:ea typeface="Cambria" panose="02040503050406030204" pitchFamily="18" charset="0"/>
              </a:rPr>
              <a:t>lf</a:t>
            </a: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) of MD99-2304 to the </a:t>
            </a:r>
            <a:r>
              <a:rPr lang="en-US" sz="2000" dirty="0" err="1">
                <a:latin typeface="Cambria" panose="02040503050406030204" pitchFamily="18" charset="0"/>
                <a:ea typeface="Cambria" panose="02040503050406030204" pitchFamily="18" charset="0"/>
              </a:rPr>
              <a:t>K</a:t>
            </a:r>
            <a:r>
              <a:rPr lang="en-US" sz="2000" baseline="-25000" dirty="0" err="1">
                <a:latin typeface="Cambria" panose="02040503050406030204" pitchFamily="18" charset="0"/>
                <a:ea typeface="Cambria" panose="02040503050406030204" pitchFamily="18" charset="0"/>
              </a:rPr>
              <a:t>lf</a:t>
            </a: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 of the core MD95-2010 (4) from the central Norwegian Sea.</a:t>
            </a:r>
          </a:p>
        </p:txBody>
      </p:sp>
      <p:pic>
        <p:nvPicPr>
          <p:cNvPr id="7" name="Picture 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9968D416-5777-90D1-CB8E-06DB9EBA5A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74368" y="332090"/>
            <a:ext cx="6798296" cy="594984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0527FEB-17FE-2611-EBF5-FB087300D6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624" y="6186936"/>
            <a:ext cx="479376" cy="67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76931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5C4C32E4-5486-850F-41D9-19D7DBF88D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2008" y="332655"/>
            <a:ext cx="6540642" cy="5976665"/>
          </a:xfrm>
          <a:prstGeom prst="rect">
            <a:avLst/>
          </a:prstGeom>
        </p:spPr>
      </p:pic>
      <p:pic>
        <p:nvPicPr>
          <p:cNvPr id="14" name="Picture 13" descr="A map of the north pole&#10;&#10;Description automatically generated">
            <a:extLst>
              <a:ext uri="{FF2B5EF4-FFF2-40B4-BE49-F238E27FC236}">
                <a16:creationId xmlns:a16="http://schemas.microsoft.com/office/drawing/2014/main" id="{AF43D577-E135-1AF1-7606-AD4060D3AB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196" y="2298775"/>
            <a:ext cx="2853267" cy="226045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9D956BB-FCB1-7399-E2E6-595FDF5DDC33}"/>
              </a:ext>
            </a:extLst>
          </p:cNvPr>
          <p:cNvSpPr txBox="1"/>
          <p:nvPr/>
        </p:nvSpPr>
        <p:spPr>
          <a:xfrm>
            <a:off x="2623016" y="2905043"/>
            <a:ext cx="12041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Open ocean</a:t>
            </a:r>
          </a:p>
          <a:p>
            <a:pPr algn="r"/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condition</a:t>
            </a:r>
          </a:p>
        </p:txBody>
      </p:sp>
      <p:sp>
        <p:nvSpPr>
          <p:cNvPr id="2" name="Plassholder for lysbildenummer 1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BB55893-F462-0318-3787-C9AF55457DF3}"/>
              </a:ext>
            </a:extLst>
          </p:cNvPr>
          <p:cNvCxnSpPr>
            <a:cxnSpLocks/>
          </p:cNvCxnSpPr>
          <p:nvPr/>
        </p:nvCxnSpPr>
        <p:spPr>
          <a:xfrm flipH="1" flipV="1">
            <a:off x="3829999" y="2176580"/>
            <a:ext cx="16314" cy="2041703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AB0284D-1E44-54C5-923C-B3DEC2C1D85F}"/>
              </a:ext>
            </a:extLst>
          </p:cNvPr>
          <p:cNvSpPr txBox="1"/>
          <p:nvPr/>
        </p:nvSpPr>
        <p:spPr>
          <a:xfrm>
            <a:off x="2135560" y="4880291"/>
            <a:ext cx="16224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Terrestrial</a:t>
            </a:r>
          </a:p>
          <a:p>
            <a:pPr algn="r"/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organic material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10E1908-C6ED-DE94-170E-65E79074E1D5}"/>
              </a:ext>
            </a:extLst>
          </p:cNvPr>
          <p:cNvCxnSpPr>
            <a:cxnSpLocks/>
          </p:cNvCxnSpPr>
          <p:nvPr/>
        </p:nvCxnSpPr>
        <p:spPr>
          <a:xfrm flipV="1">
            <a:off x="3757991" y="4365104"/>
            <a:ext cx="0" cy="1615150"/>
          </a:xfrm>
          <a:prstGeom prst="straightConnector1">
            <a:avLst/>
          </a:prstGeom>
          <a:ln w="76200">
            <a:solidFill>
              <a:srgbClr val="CC9832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61E22E6B-AE79-CADB-7491-FDA942845CBE}"/>
              </a:ext>
            </a:extLst>
          </p:cNvPr>
          <p:cNvSpPr txBox="1"/>
          <p:nvPr/>
        </p:nvSpPr>
        <p:spPr>
          <a:xfrm>
            <a:off x="2206779" y="1021102"/>
            <a:ext cx="159819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Greenland</a:t>
            </a:r>
          </a:p>
          <a:p>
            <a:pPr algn="r"/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Air temperatur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0A572A16-C628-7BB1-D394-DACDD77A0405}"/>
              </a:ext>
            </a:extLst>
          </p:cNvPr>
          <p:cNvCxnSpPr>
            <a:cxnSpLocks/>
          </p:cNvCxnSpPr>
          <p:nvPr/>
        </p:nvCxnSpPr>
        <p:spPr>
          <a:xfrm flipV="1">
            <a:off x="3804973" y="620688"/>
            <a:ext cx="0" cy="1385604"/>
          </a:xfrm>
          <a:prstGeom prst="straightConnector1">
            <a:avLst/>
          </a:prstGeom>
          <a:ln w="76200">
            <a:solidFill>
              <a:srgbClr val="CC6633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D0BFA0D-75CA-FBF6-BBF8-900CA5DBCD51}"/>
              </a:ext>
            </a:extLst>
          </p:cNvPr>
          <p:cNvSpPr txBox="1"/>
          <p:nvPr/>
        </p:nvSpPr>
        <p:spPr>
          <a:xfrm>
            <a:off x="9880382" y="1639597"/>
            <a:ext cx="22783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IP</a:t>
            </a:r>
            <a:r>
              <a:rPr lang="en-US" sz="1600" baseline="-250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25</a:t>
            </a:r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: sea ice diatom</a:t>
            </a:r>
          </a:p>
          <a:p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HBI-III (Z): marginal ice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4F33BC98-1640-B0CA-EA91-C199FB903681}"/>
              </a:ext>
            </a:extLst>
          </p:cNvPr>
          <p:cNvCxnSpPr>
            <a:cxnSpLocks/>
          </p:cNvCxnSpPr>
          <p:nvPr/>
        </p:nvCxnSpPr>
        <p:spPr>
          <a:xfrm flipV="1">
            <a:off x="9880382" y="1124744"/>
            <a:ext cx="0" cy="1615150"/>
          </a:xfrm>
          <a:prstGeom prst="straightConnector1">
            <a:avLst/>
          </a:prstGeom>
          <a:ln w="76200">
            <a:solidFill>
              <a:schemeClr val="accent1">
                <a:lumMod val="40000"/>
                <a:lumOff val="60000"/>
              </a:schemeClr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3FD969AD-E206-573C-D07E-3B727BC04D50}"/>
              </a:ext>
            </a:extLst>
          </p:cNvPr>
          <p:cNvSpPr txBox="1"/>
          <p:nvPr/>
        </p:nvSpPr>
        <p:spPr>
          <a:xfrm>
            <a:off x="9950679" y="4235777"/>
            <a:ext cx="13698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Sea ice extent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C863EEC-96D1-C926-F020-B0D23D942724}"/>
              </a:ext>
            </a:extLst>
          </p:cNvPr>
          <p:cNvCxnSpPr>
            <a:cxnSpLocks/>
          </p:cNvCxnSpPr>
          <p:nvPr/>
        </p:nvCxnSpPr>
        <p:spPr>
          <a:xfrm flipV="1">
            <a:off x="9950679" y="3717032"/>
            <a:ext cx="0" cy="1368152"/>
          </a:xfrm>
          <a:prstGeom prst="straightConnector1">
            <a:avLst/>
          </a:prstGeom>
          <a:ln w="76200">
            <a:solidFill>
              <a:schemeClr val="accent5">
                <a:lumMod val="40000"/>
                <a:lumOff val="60000"/>
              </a:schemeClr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3FD4BF5B-6678-4F4B-3EBB-EAAE46519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624" y="6186936"/>
            <a:ext cx="479376" cy="67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8157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98B100D-050B-7EDE-590F-5A01C3C23442}"/>
              </a:ext>
            </a:extLst>
          </p:cNvPr>
          <p:cNvSpPr txBox="1"/>
          <p:nvPr/>
        </p:nvSpPr>
        <p:spPr>
          <a:xfrm>
            <a:off x="2063552" y="253678"/>
            <a:ext cx="19976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</a:rPr>
              <a:t>Summary</a:t>
            </a:r>
          </a:p>
        </p:txBody>
      </p:sp>
      <p:pic>
        <p:nvPicPr>
          <p:cNvPr id="4" name="Picture 3" descr="A map of the north pole&#10;&#10;Description automatically generated">
            <a:extLst>
              <a:ext uri="{FF2B5EF4-FFF2-40B4-BE49-F238E27FC236}">
                <a16:creationId xmlns:a16="http://schemas.microsoft.com/office/drawing/2014/main" id="{2A77C195-1835-6574-4F08-1369451DF8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53" y="980728"/>
            <a:ext cx="2594587" cy="2286000"/>
          </a:xfrm>
          <a:prstGeom prst="rect">
            <a:avLst/>
          </a:prstGeom>
        </p:spPr>
      </p:pic>
      <p:pic>
        <p:nvPicPr>
          <p:cNvPr id="2" name="Picture 1" descr="A map of the north pole&#10;&#10;Description automatically generated">
            <a:extLst>
              <a:ext uri="{FF2B5EF4-FFF2-40B4-BE49-F238E27FC236}">
                <a16:creationId xmlns:a16="http://schemas.microsoft.com/office/drawing/2014/main" id="{FDCA5562-54A5-584D-472E-EB4E4DD479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57939" y="980728"/>
            <a:ext cx="2594587" cy="2286000"/>
          </a:xfrm>
          <a:prstGeom prst="rect">
            <a:avLst/>
          </a:prstGeom>
        </p:spPr>
      </p:pic>
      <p:pic>
        <p:nvPicPr>
          <p:cNvPr id="5" name="Picture 4" descr="A map of the north pole&#10;&#10;Description automatically generated">
            <a:extLst>
              <a:ext uri="{FF2B5EF4-FFF2-40B4-BE49-F238E27FC236}">
                <a16:creationId xmlns:a16="http://schemas.microsoft.com/office/drawing/2014/main" id="{43542117-1129-A352-E608-CE03E492E5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52526" y="981377"/>
            <a:ext cx="2594587" cy="2286000"/>
          </a:xfrm>
          <a:prstGeom prst="rect">
            <a:avLst/>
          </a:prstGeom>
        </p:spPr>
      </p:pic>
      <p:pic>
        <p:nvPicPr>
          <p:cNvPr id="6" name="Picture 5" descr="A map of the iceberg&#10;&#10;Description automatically generated">
            <a:extLst>
              <a:ext uri="{FF2B5EF4-FFF2-40B4-BE49-F238E27FC236}">
                <a16:creationId xmlns:a16="http://schemas.microsoft.com/office/drawing/2014/main" id="{183ED88C-BCFA-8DD5-47EB-496B95EA1B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352" y="3316545"/>
            <a:ext cx="2594587" cy="2286000"/>
          </a:xfrm>
          <a:prstGeom prst="rect">
            <a:avLst/>
          </a:prstGeom>
        </p:spPr>
      </p:pic>
      <p:pic>
        <p:nvPicPr>
          <p:cNvPr id="8" name="Picture 7" descr="A map of the icebergs&#10;&#10;Description automatically generated">
            <a:extLst>
              <a:ext uri="{FF2B5EF4-FFF2-40B4-BE49-F238E27FC236}">
                <a16:creationId xmlns:a16="http://schemas.microsoft.com/office/drawing/2014/main" id="{1DB4811B-8A4D-78F6-8200-A723F68361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57940" y="3316545"/>
            <a:ext cx="2594586" cy="2286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2BEF32-833A-0F5B-2D45-89260D606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624" y="6186936"/>
            <a:ext cx="479376" cy="67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2B78BA9-9B41-01FA-1F0D-BC0350C05EDB}"/>
              </a:ext>
            </a:extLst>
          </p:cNvPr>
          <p:cNvSpPr txBox="1"/>
          <p:nvPr/>
        </p:nvSpPr>
        <p:spPr>
          <a:xfrm>
            <a:off x="259419" y="981377"/>
            <a:ext cx="724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(1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FD01815-2C0B-BEE5-ABBB-52E6853F17AF}"/>
              </a:ext>
            </a:extLst>
          </p:cNvPr>
          <p:cNvSpPr txBox="1"/>
          <p:nvPr/>
        </p:nvSpPr>
        <p:spPr>
          <a:xfrm>
            <a:off x="259419" y="3269687"/>
            <a:ext cx="724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(4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6A9EB7C-23D1-65C1-3218-BCA3E31929A0}"/>
              </a:ext>
            </a:extLst>
          </p:cNvPr>
          <p:cNvSpPr txBox="1"/>
          <p:nvPr/>
        </p:nvSpPr>
        <p:spPr>
          <a:xfrm>
            <a:off x="2847837" y="984338"/>
            <a:ext cx="724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(2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8B28076-8509-2748-9C0B-100DF7BE6A33}"/>
              </a:ext>
            </a:extLst>
          </p:cNvPr>
          <p:cNvSpPr txBox="1"/>
          <p:nvPr/>
        </p:nvSpPr>
        <p:spPr>
          <a:xfrm>
            <a:off x="5454273" y="984338"/>
            <a:ext cx="724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(3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B64B33-68CE-7177-B194-C8573D546097}"/>
              </a:ext>
            </a:extLst>
          </p:cNvPr>
          <p:cNvSpPr txBox="1"/>
          <p:nvPr/>
        </p:nvSpPr>
        <p:spPr>
          <a:xfrm>
            <a:off x="2847838" y="3269687"/>
            <a:ext cx="724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(5)</a:t>
            </a:r>
          </a:p>
        </p:txBody>
      </p:sp>
      <p:pic>
        <p:nvPicPr>
          <p:cNvPr id="10" name="Picture 9" descr="A screenshot of a graph&#10;&#10;Description automatically generated">
            <a:extLst>
              <a:ext uri="{FF2B5EF4-FFF2-40B4-BE49-F238E27FC236}">
                <a16:creationId xmlns:a16="http://schemas.microsoft.com/office/drawing/2014/main" id="{55FBCD81-9F5D-D9E1-78CF-8E9F7AEA106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47113" y="1751205"/>
            <a:ext cx="4144887" cy="43232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B888965-AB32-8F46-1603-A77D1DCF60B4}"/>
              </a:ext>
            </a:extLst>
          </p:cNvPr>
          <p:cNvSpPr txBox="1"/>
          <p:nvPr/>
        </p:nvSpPr>
        <p:spPr>
          <a:xfrm>
            <a:off x="259419" y="5602545"/>
            <a:ext cx="779310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1. PS92/039-2 (Kremer et al., 2018b), 2. PS93/006-1 (Kremer et al., 2018a), 3. HH15-1252PC (El 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bani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Altuna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21, 2024), 4. MD95-2010 (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Sadatzki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20), 5. JM11-FI-19PC (Hoff et al., 2016), 6. MD99-2284 (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Sadatzki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19), 7. GS16-204-23-CC (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Scoto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22)</a:t>
            </a:r>
          </a:p>
        </p:txBody>
      </p:sp>
    </p:spTree>
    <p:extLst>
      <p:ext uri="{BB962C8B-B14F-4D97-AF65-F5344CB8AC3E}">
        <p14:creationId xmlns:p14="http://schemas.microsoft.com/office/powerpoint/2010/main" val="2580293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diagram of the weather&#10;&#10;Description automatically generated">
            <a:extLst>
              <a:ext uri="{FF2B5EF4-FFF2-40B4-BE49-F238E27FC236}">
                <a16:creationId xmlns:a16="http://schemas.microsoft.com/office/drawing/2014/main" id="{FAE5CCCD-4F80-FE40-ABC3-8A97D988DB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419" y="3315896"/>
            <a:ext cx="2594587" cy="2286000"/>
          </a:xfrm>
          <a:prstGeom prst="rect">
            <a:avLst/>
          </a:prstGeom>
        </p:spPr>
      </p:pic>
      <p:pic>
        <p:nvPicPr>
          <p:cNvPr id="10" name="Picture 9" descr="A map of the weather&#10;&#10;Description automatically generated">
            <a:extLst>
              <a:ext uri="{FF2B5EF4-FFF2-40B4-BE49-F238E27FC236}">
                <a16:creationId xmlns:a16="http://schemas.microsoft.com/office/drawing/2014/main" id="{9C414CFF-61CF-BFA1-04B0-B6F7920746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419" y="980728"/>
            <a:ext cx="2597209" cy="2288310"/>
          </a:xfrm>
          <a:prstGeom prst="rect">
            <a:avLst/>
          </a:prstGeom>
        </p:spPr>
      </p:pic>
      <p:pic>
        <p:nvPicPr>
          <p:cNvPr id="7" name="Picture 6" descr="A map of the north pole&#10;&#10;Description automatically generated">
            <a:extLst>
              <a:ext uri="{FF2B5EF4-FFF2-40B4-BE49-F238E27FC236}">
                <a16:creationId xmlns:a16="http://schemas.microsoft.com/office/drawing/2014/main" id="{ADC38C3D-76AD-A417-9374-44649CC0DD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56628" y="3315896"/>
            <a:ext cx="2594587" cy="2286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98B100D-050B-7EDE-590F-5A01C3C23442}"/>
              </a:ext>
            </a:extLst>
          </p:cNvPr>
          <p:cNvSpPr txBox="1"/>
          <p:nvPr/>
        </p:nvSpPr>
        <p:spPr>
          <a:xfrm>
            <a:off x="2063552" y="253678"/>
            <a:ext cx="199766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latin typeface="Cambria" panose="02040503050406030204" pitchFamily="18" charset="0"/>
                <a:ea typeface="Cambria" panose="02040503050406030204" pitchFamily="18" charset="0"/>
              </a:rPr>
              <a:t>Summary</a:t>
            </a:r>
          </a:p>
        </p:txBody>
      </p:sp>
      <p:pic>
        <p:nvPicPr>
          <p:cNvPr id="11" name="Picture 10" descr="A map of the icebergs&#10;&#10;Description automatically generated">
            <a:extLst>
              <a:ext uri="{FF2B5EF4-FFF2-40B4-BE49-F238E27FC236}">
                <a16:creationId xmlns:a16="http://schemas.microsoft.com/office/drawing/2014/main" id="{76EDB75A-7058-DDC0-1667-B6E535375F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2451" y="980728"/>
            <a:ext cx="2597209" cy="2288310"/>
          </a:xfrm>
          <a:prstGeom prst="rect">
            <a:avLst/>
          </a:prstGeom>
        </p:spPr>
      </p:pic>
      <p:pic>
        <p:nvPicPr>
          <p:cNvPr id="13" name="Picture 12" descr="A map of the iceberg&#10;&#10;Description automatically generated">
            <a:extLst>
              <a:ext uri="{FF2B5EF4-FFF2-40B4-BE49-F238E27FC236}">
                <a16:creationId xmlns:a16="http://schemas.microsoft.com/office/drawing/2014/main" id="{4B466E84-DD39-9537-B21B-D7AFDB9CE5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45048" y="980728"/>
            <a:ext cx="2594587" cy="2286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2BEF32-833A-0F5B-2D45-89260D606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624" y="6186936"/>
            <a:ext cx="479376" cy="67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8EBEEE2-989A-A8B4-BC93-218979B3B7D4}"/>
              </a:ext>
            </a:extLst>
          </p:cNvPr>
          <p:cNvSpPr txBox="1"/>
          <p:nvPr/>
        </p:nvSpPr>
        <p:spPr>
          <a:xfrm>
            <a:off x="259419" y="980728"/>
            <a:ext cx="724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(6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C728DD-6EC7-286D-4195-60895D09B6ED}"/>
              </a:ext>
            </a:extLst>
          </p:cNvPr>
          <p:cNvSpPr txBox="1"/>
          <p:nvPr/>
        </p:nvSpPr>
        <p:spPr>
          <a:xfrm>
            <a:off x="259419" y="3269038"/>
            <a:ext cx="724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(9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6376622-3282-16DE-4BEE-0F42C6CB5095}"/>
              </a:ext>
            </a:extLst>
          </p:cNvPr>
          <p:cNvSpPr txBox="1"/>
          <p:nvPr/>
        </p:nvSpPr>
        <p:spPr>
          <a:xfrm>
            <a:off x="2847837" y="983689"/>
            <a:ext cx="724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(7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A41BBF-486D-A17A-1672-A01627C42E29}"/>
              </a:ext>
            </a:extLst>
          </p:cNvPr>
          <p:cNvSpPr txBox="1"/>
          <p:nvPr/>
        </p:nvSpPr>
        <p:spPr>
          <a:xfrm>
            <a:off x="5454273" y="983689"/>
            <a:ext cx="724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(8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C4D0DED-2481-5536-B9A5-324ACF5240C9}"/>
              </a:ext>
            </a:extLst>
          </p:cNvPr>
          <p:cNvSpPr txBox="1"/>
          <p:nvPr/>
        </p:nvSpPr>
        <p:spPr>
          <a:xfrm>
            <a:off x="2847838" y="3269038"/>
            <a:ext cx="7240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(10)</a:t>
            </a:r>
          </a:p>
        </p:txBody>
      </p:sp>
      <p:pic>
        <p:nvPicPr>
          <p:cNvPr id="2" name="Picture 1" descr="A screenshot of a graph&#10;&#10;Description automatically generated">
            <a:extLst>
              <a:ext uri="{FF2B5EF4-FFF2-40B4-BE49-F238E27FC236}">
                <a16:creationId xmlns:a16="http://schemas.microsoft.com/office/drawing/2014/main" id="{50218C87-D071-0CAF-8F56-BEE2C1E2E6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47113" y="1750556"/>
            <a:ext cx="4144887" cy="43232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733D46E-B9A1-E88C-0BD3-F7891A9E5452}"/>
              </a:ext>
            </a:extLst>
          </p:cNvPr>
          <p:cNvSpPr txBox="1"/>
          <p:nvPr/>
        </p:nvSpPr>
        <p:spPr>
          <a:xfrm>
            <a:off x="259419" y="5602545"/>
            <a:ext cx="779310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1. PS92/039-2 (Kremer et al., 2018b), 2. PS93/006-1 (Kremer et al., 2018a), 3. HH15-1252PC (El 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bani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Altuna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21, 2024), 4. MD95-2010 (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Sadatzki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20), 5. JM11-FI-19PC (Hoff et al., 2016), 6. MD99-2284 (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Sadatzki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19), 7. GS16-204-23-CC (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Scoto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22)</a:t>
            </a:r>
          </a:p>
        </p:txBody>
      </p:sp>
    </p:spTree>
    <p:extLst>
      <p:ext uri="{BB962C8B-B14F-4D97-AF65-F5344CB8AC3E}">
        <p14:creationId xmlns:p14="http://schemas.microsoft.com/office/powerpoint/2010/main" val="30970341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A7253B-8590-2A8E-BD73-ABBF0D6513CB}"/>
              </a:ext>
            </a:extLst>
          </p:cNvPr>
          <p:cNvSpPr txBox="1"/>
          <p:nvPr/>
        </p:nvSpPr>
        <p:spPr>
          <a:xfrm>
            <a:off x="263352" y="838453"/>
            <a:ext cx="3816424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US" sz="2400" b="1" u="sng" dirty="0">
                <a:latin typeface="Cambria" panose="02040503050406030204" pitchFamily="18" charset="0"/>
                <a:ea typeface="Cambria" panose="02040503050406030204" pitchFamily="18" charset="0"/>
              </a:rPr>
              <a:t>Methodology</a:t>
            </a:r>
            <a:endParaRPr lang="en-US" sz="24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</a:rPr>
              <a:t>IP</a:t>
            </a:r>
            <a:r>
              <a:rPr lang="en-US" sz="1600" baseline="-25000" dirty="0">
                <a:latin typeface="Cambria" panose="02040503050406030204" pitchFamily="18" charset="0"/>
                <a:ea typeface="Cambria" panose="02040503050406030204" pitchFamily="18" charset="0"/>
              </a:rPr>
              <a:t>25</a:t>
            </a:r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</a:rPr>
              <a:t>: sea ice diatom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</a:rPr>
              <a:t>HBI-III (Z): marginal ice zone (MIZ) phytoplankton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</a:rPr>
              <a:t>Brassicasterol and dinosterol: pelagic phytoplankton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</a:rPr>
              <a:t>PIP</a:t>
            </a:r>
            <a:r>
              <a:rPr lang="en-US" sz="1600" baseline="-25000" dirty="0">
                <a:latin typeface="Cambria" panose="02040503050406030204" pitchFamily="18" charset="0"/>
                <a:ea typeface="Cambria" panose="02040503050406030204" pitchFamily="18" charset="0"/>
              </a:rPr>
              <a:t>25</a:t>
            </a:r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</a:rPr>
              <a:t>: sea ice proxy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Cambria" panose="02040503050406030204" pitchFamily="18" charset="0"/>
                <a:ea typeface="Cambria" panose="02040503050406030204" pitchFamily="18" charset="0"/>
              </a:rPr>
              <a:t>Campesterol + sitosterol: terrigenous organic matt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07D3D53-4DFE-F926-784C-C738B744E9FA}"/>
              </a:ext>
            </a:extLst>
          </p:cNvPr>
          <p:cNvSpPr txBox="1"/>
          <p:nvPr/>
        </p:nvSpPr>
        <p:spPr>
          <a:xfrm>
            <a:off x="263352" y="5950019"/>
            <a:ext cx="38164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Müller et al., 2011; Stein et al., 2016.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80DF096A-AC6E-44AA-9524-21CCEFC03F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89" r="20316"/>
          <a:stretch/>
        </p:blipFill>
        <p:spPr bwMode="auto">
          <a:xfrm>
            <a:off x="4079776" y="1363759"/>
            <a:ext cx="8112224" cy="4862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34098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4A7253B-8590-2A8E-BD73-ABBF0D6513CB}"/>
              </a:ext>
            </a:extLst>
          </p:cNvPr>
          <p:cNvSpPr txBox="1"/>
          <p:nvPr/>
        </p:nvSpPr>
        <p:spPr>
          <a:xfrm>
            <a:off x="263351" y="838453"/>
            <a:ext cx="80648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US" sz="2400" b="1" u="sng" dirty="0">
                <a:latin typeface="Cambria" panose="02040503050406030204" pitchFamily="18" charset="0"/>
                <a:ea typeface="Cambria" panose="02040503050406030204" pitchFamily="18" charset="0"/>
              </a:rPr>
              <a:t>Supplement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latin typeface="Cambria" panose="02040503050406030204" pitchFamily="18" charset="0"/>
                <a:ea typeface="Cambria" panose="02040503050406030204" pitchFamily="18" charset="0"/>
              </a:rPr>
              <a:t>Biomarker results comparison with cores in the Nordic Seas</a:t>
            </a:r>
            <a:endParaRPr lang="en-US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7" name="Picture 6" descr="A map of the north pole&#10;&#10;Description automatically generated">
            <a:extLst>
              <a:ext uri="{FF2B5EF4-FFF2-40B4-BE49-F238E27FC236}">
                <a16:creationId xmlns:a16="http://schemas.microsoft.com/office/drawing/2014/main" id="{26F78741-65D2-3C9C-585B-D777CF8949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6219" y="0"/>
            <a:ext cx="3055781" cy="2420888"/>
          </a:xfrm>
          <a:prstGeom prst="rect">
            <a:avLst/>
          </a:prstGeom>
        </p:spPr>
      </p:pic>
      <p:sp>
        <p:nvSpPr>
          <p:cNvPr id="2" name="Plassholder for lysbildenummer 1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22974C-93B8-0469-147E-41958C3097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2624" y="6186936"/>
            <a:ext cx="479376" cy="67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3FC694B0-E664-BAE1-313A-DFF24F0787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6" y="1859850"/>
            <a:ext cx="10081120" cy="387340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7565EC4-B0C0-2263-82CE-C55C9334DD46}"/>
              </a:ext>
            </a:extLst>
          </p:cNvPr>
          <p:cNvSpPr txBox="1"/>
          <p:nvPr/>
        </p:nvSpPr>
        <p:spPr>
          <a:xfrm>
            <a:off x="119336" y="5788714"/>
            <a:ext cx="119533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1. PS92/039-2 (Kremer et al., 2018b), 2. PS93/006-1 (Kremer et al., 2018a), 3. HH15-1252PC (El 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bani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Altuna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21, 2024), 4. MD95-2010 (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Sadatzki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20), 5. JM11-FI-19PC (Hoff et al., 2016), 6. MD99-2284 (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Sadatzki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19), 7. GS16-204-23-CC (</a:t>
            </a:r>
            <a:r>
              <a:rPr lang="en-US" sz="1200" dirty="0" err="1">
                <a:latin typeface="Cambria" panose="02040503050406030204" pitchFamily="18" charset="0"/>
                <a:ea typeface="Cambria" panose="02040503050406030204" pitchFamily="18" charset="0"/>
              </a:rPr>
              <a:t>Scoto</a:t>
            </a:r>
            <a:r>
              <a:rPr lang="en-US" sz="1200" dirty="0">
                <a:latin typeface="Cambria" panose="02040503050406030204" pitchFamily="18" charset="0"/>
                <a:ea typeface="Cambria" panose="02040503050406030204" pitchFamily="18" charset="0"/>
              </a:rPr>
              <a:t> et al., 2022)</a:t>
            </a:r>
          </a:p>
        </p:txBody>
      </p:sp>
    </p:spTree>
    <p:extLst>
      <p:ext uri="{BB962C8B-B14F-4D97-AF65-F5344CB8AC3E}">
        <p14:creationId xmlns:p14="http://schemas.microsoft.com/office/powerpoint/2010/main" val="325510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adc2ffe-ded3-44fa-8150-a6f52fa61d2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9D74401727A749A1A33DC644C7DF1C" ma:contentTypeVersion="18" ma:contentTypeDescription="Create a new document." ma:contentTypeScope="" ma:versionID="2d8c6f2b7fca6a2d5e1965ca7c74dbc2">
  <xsd:schema xmlns:xsd="http://www.w3.org/2001/XMLSchema" xmlns:xs="http://www.w3.org/2001/XMLSchema" xmlns:p="http://schemas.microsoft.com/office/2006/metadata/properties" xmlns:ns3="badc2ffe-ded3-44fa-8150-a6f52fa61d28" xmlns:ns4="85a1a1f7-b158-4d69-bbbe-0c8df2e40e2a" targetNamespace="http://schemas.microsoft.com/office/2006/metadata/properties" ma:root="true" ma:fieldsID="9072cc0dc87f5c1f9f26058f1fc0a1b6" ns3:_="" ns4:_="">
    <xsd:import namespace="badc2ffe-ded3-44fa-8150-a6f52fa61d28"/>
    <xsd:import namespace="85a1a1f7-b158-4d69-bbbe-0c8df2e40e2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MediaServiceLocation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dc2ffe-ded3-44fa-8150-a6f52fa61d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a1a1f7-b158-4d69-bbbe-0c8df2e40e2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2601535-8945-4041-8F01-9F49AF6A41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D719435-1798-4498-8825-635F8979B547}">
  <ds:schemaRefs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85a1a1f7-b158-4d69-bbbe-0c8df2e40e2a"/>
    <ds:schemaRef ds:uri="http://purl.org/dc/dcmitype/"/>
    <ds:schemaRef ds:uri="badc2ffe-ded3-44fa-8150-a6f52fa61d28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6684DE6E-026D-4CFA-A600-C5A4C5873E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adc2ffe-ded3-44fa-8150-a6f52fa61d28"/>
    <ds:schemaRef ds:uri="85a1a1f7-b158-4d69-bbbe-0c8df2e40e2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83</Words>
  <Application>Microsoft Office PowerPoint</Application>
  <PresentationFormat>Widescreen</PresentationFormat>
  <Paragraphs>87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ambria</vt:lpstr>
      <vt:lpstr>Courier New</vt:lpstr>
      <vt:lpstr>blank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Ellen Viste</dc:creator>
  <cp:lastModifiedBy>Wanyee Wong</cp:lastModifiedBy>
  <cp:revision>9</cp:revision>
  <dcterms:created xsi:type="dcterms:W3CDTF">2019-06-05T13:39:33Z</dcterms:created>
  <dcterms:modified xsi:type="dcterms:W3CDTF">2024-04-13T08:5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9D74401727A749A1A33DC644C7DF1C</vt:lpwstr>
  </property>
</Properties>
</file>